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5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6.xml" ContentType="application/vnd.openxmlformats-officedocument.theme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7.xml" ContentType="application/vnd.openxmlformats-officedocument.theme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9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0.xml" ContentType="application/vnd.openxmlformats-officedocument.theme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1" r:id="rId1"/>
    <p:sldMasterId id="2147483702" r:id="rId2"/>
    <p:sldMasterId id="2147483716" r:id="rId3"/>
    <p:sldMasterId id="2147483722" r:id="rId4"/>
    <p:sldMasterId id="2147483732" r:id="rId5"/>
    <p:sldMasterId id="2147483735" r:id="rId6"/>
    <p:sldMasterId id="2147483743" r:id="rId7"/>
    <p:sldMasterId id="2147483751" r:id="rId8"/>
    <p:sldMasterId id="2147483759" r:id="rId9"/>
    <p:sldMasterId id="2147483771" r:id="rId10"/>
  </p:sldMasterIdLst>
  <p:notesMasterIdLst>
    <p:notesMasterId r:id="rId22"/>
  </p:notesMasterIdLst>
  <p:handoutMasterIdLst>
    <p:handoutMasterId r:id="rId23"/>
  </p:handoutMasterIdLst>
  <p:sldIdLst>
    <p:sldId id="734" r:id="rId11"/>
    <p:sldId id="789" r:id="rId12"/>
    <p:sldId id="775" r:id="rId13"/>
    <p:sldId id="783" r:id="rId14"/>
    <p:sldId id="785" r:id="rId15"/>
    <p:sldId id="781" r:id="rId16"/>
    <p:sldId id="780" r:id="rId17"/>
    <p:sldId id="784" r:id="rId18"/>
    <p:sldId id="779" r:id="rId19"/>
    <p:sldId id="786" r:id="rId20"/>
    <p:sldId id="787" r:id="rId21"/>
  </p:sldIdLst>
  <p:sldSz cx="9144000" cy="6858000" type="screen4x3"/>
  <p:notesSz cx="7010400" cy="9296400"/>
  <p:defaultTextStyle>
    <a:defPPr>
      <a:defRPr lang="fr-CA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02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05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07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10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5128" algn="l" defTabSz="914051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2154" algn="l" defTabSz="914051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199179" algn="l" defTabSz="914051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6205" algn="l" defTabSz="914051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43">
          <p15:clr>
            <a:srgbClr val="A4A3A4"/>
          </p15:clr>
        </p15:guide>
        <p15:guide id="2" orient="horz" pos="364">
          <p15:clr>
            <a:srgbClr val="A4A3A4"/>
          </p15:clr>
        </p15:guide>
        <p15:guide id="3" orient="horz" pos="827">
          <p15:clr>
            <a:srgbClr val="A4A3A4"/>
          </p15:clr>
        </p15:guide>
        <p15:guide id="4" orient="horz" pos="178">
          <p15:clr>
            <a:srgbClr val="A4A3A4"/>
          </p15:clr>
        </p15:guide>
        <p15:guide id="5" orient="horz" pos="4110">
          <p15:clr>
            <a:srgbClr val="A4A3A4"/>
          </p15:clr>
        </p15:guide>
        <p15:guide id="6" orient="horz" pos="923">
          <p15:clr>
            <a:srgbClr val="A4A3A4"/>
          </p15:clr>
        </p15:guide>
        <p15:guide id="7" orient="horz" pos="1019">
          <p15:clr>
            <a:srgbClr val="A4A3A4"/>
          </p15:clr>
        </p15:guide>
        <p15:guide id="8" orient="horz" pos="1121">
          <p15:clr>
            <a:srgbClr val="A4A3A4"/>
          </p15:clr>
        </p15:guide>
        <p15:guide id="9" pos="5601">
          <p15:clr>
            <a:srgbClr val="A4A3A4"/>
          </p15:clr>
        </p15:guide>
        <p15:guide id="10" pos="840">
          <p15:clr>
            <a:srgbClr val="A4A3A4"/>
          </p15:clr>
        </p15:guide>
        <p15:guide id="11" pos="932">
          <p15:clr>
            <a:srgbClr val="A4A3A4"/>
          </p15:clr>
        </p15:guide>
        <p15:guide id="12" pos="2874">
          <p15:clr>
            <a:srgbClr val="A4A3A4"/>
          </p15:clr>
        </p15:guide>
        <p15:guide id="13" pos="1446">
          <p15:clr>
            <a:srgbClr val="A4A3A4"/>
          </p15:clr>
        </p15:guide>
        <p15:guide id="14" pos="4977">
          <p15:clr>
            <a:srgbClr val="A4A3A4"/>
          </p15:clr>
        </p15:guide>
        <p15:guide id="15" pos="26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orient="horz" pos="6128">
          <p15:clr>
            <a:srgbClr val="A4A3A4"/>
          </p15:clr>
        </p15:guide>
        <p15:guide id="3" pos="2236">
          <p15:clr>
            <a:srgbClr val="A4A3A4"/>
          </p15:clr>
        </p15:guide>
        <p15:guide id="4" pos="462">
          <p15:clr>
            <a:srgbClr val="A4A3A4"/>
          </p15:clr>
        </p15:guide>
        <p15:guide id="5" pos="2866">
          <p15:clr>
            <a:srgbClr val="A4A3A4"/>
          </p15:clr>
        </p15:guide>
        <p15:guide id="6" pos="182">
          <p15:clr>
            <a:srgbClr val="A4A3A4"/>
          </p15:clr>
        </p15:guide>
        <p15:guide id="7" orient="horz" pos="2928">
          <p15:clr>
            <a:srgbClr val="A4A3A4"/>
          </p15:clr>
        </p15:guide>
        <p15:guide id="8" orient="horz" pos="5566">
          <p15:clr>
            <a:srgbClr val="A4A3A4"/>
          </p15:clr>
        </p15:guide>
        <p15:guide id="9" pos="2208">
          <p15:clr>
            <a:srgbClr val="A4A3A4"/>
          </p15:clr>
        </p15:guide>
        <p15:guide id="10" pos="456">
          <p15:clr>
            <a:srgbClr val="A4A3A4"/>
          </p15:clr>
        </p15:guide>
        <p15:guide id="11" pos="2830">
          <p15:clr>
            <a:srgbClr val="A4A3A4"/>
          </p15:clr>
        </p15:guide>
        <p15:guide id="12" pos="18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25A"/>
    <a:srgbClr val="A9A099"/>
    <a:srgbClr val="3FBFA7"/>
    <a:srgbClr val="C7BAB9"/>
    <a:srgbClr val="00A665"/>
    <a:srgbClr val="54AA9C"/>
    <a:srgbClr val="E7E7E7"/>
    <a:srgbClr val="84786F"/>
    <a:srgbClr val="A5BF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Style moyen 4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867" autoAdjust="0"/>
    <p:restoredTop sz="99127" autoAdjust="0"/>
  </p:normalViewPr>
  <p:slideViewPr>
    <p:cSldViewPr snapToGrid="0" showGuides="1">
      <p:cViewPr>
        <p:scale>
          <a:sx n="70" d="100"/>
          <a:sy n="70" d="100"/>
        </p:scale>
        <p:origin x="-2814" y="-1200"/>
      </p:cViewPr>
      <p:guideLst>
        <p:guide orient="horz" pos="743"/>
        <p:guide orient="horz" pos="364"/>
        <p:guide orient="horz" pos="827"/>
        <p:guide orient="horz" pos="178"/>
        <p:guide orient="horz" pos="4110"/>
        <p:guide orient="horz" pos="923"/>
        <p:guide orient="horz" pos="1019"/>
        <p:guide orient="horz" pos="1121"/>
        <p:guide pos="5601"/>
        <p:guide pos="840"/>
        <p:guide pos="932"/>
        <p:guide pos="2874"/>
        <p:guide pos="1446"/>
        <p:guide pos="4977"/>
        <p:guide pos="26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3888"/>
    </p:cViewPr>
  </p:sorterViewPr>
  <p:notesViewPr>
    <p:cSldViewPr snapToGrid="0" showGuides="1">
      <p:cViewPr>
        <p:scale>
          <a:sx n="75" d="100"/>
          <a:sy n="75" d="100"/>
        </p:scale>
        <p:origin x="-2310" y="-72"/>
      </p:cViewPr>
      <p:guideLst>
        <p:guide orient="horz" pos="3224"/>
        <p:guide orient="horz" pos="6128"/>
        <p:guide orient="horz" pos="2928"/>
        <p:guide orient="horz" pos="5566"/>
        <p:guide pos="2236"/>
        <p:guide pos="462"/>
        <p:guide pos="2866"/>
        <p:guide pos="182"/>
        <p:guide pos="2208"/>
        <p:guide pos="456"/>
        <p:guide pos="2830"/>
        <p:guide pos="18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0" name="Line 18"/>
          <p:cNvSpPr>
            <a:spLocks noChangeShapeType="1"/>
          </p:cNvSpPr>
          <p:nvPr/>
        </p:nvSpPr>
        <p:spPr bwMode="auto">
          <a:xfrm flipV="1">
            <a:off x="270801" y="0"/>
            <a:ext cx="0" cy="676326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018" tIns="43009" rIns="86018" bIns="43009"/>
          <a:lstStyle/>
          <a:p>
            <a:endParaRPr lang="fr-CA"/>
          </a:p>
        </p:txBody>
      </p:sp>
      <p:sp>
        <p:nvSpPr>
          <p:cNvPr id="3092" name="Rectangle 20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273844" y="8769174"/>
            <a:ext cx="1274895" cy="5272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04672" tIns="52336" rIns="104672" bIns="52336" numCol="1" anchor="b" anchorCtr="0" compatLnSpc="1">
            <a:prstTxWarp prst="textNoShape">
              <a:avLst/>
            </a:prstTxWarp>
          </a:bodyPr>
          <a:lstStyle>
            <a:lvl1pPr defTabSz="1046847">
              <a:defRPr sz="1500"/>
            </a:lvl1pPr>
          </a:lstStyle>
          <a:p>
            <a:fld id="{67BDD055-8498-4BF3-B25B-032161DD05D4}" type="slidenum">
              <a:rPr lang="en-US"/>
              <a:pPr/>
              <a:t>‹N°›</a:t>
            </a:fld>
            <a:endParaRPr lang="en-US"/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 flipH="1">
            <a:off x="1646106" y="8813749"/>
            <a:ext cx="478161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018" tIns="43009" rIns="86018" bIns="43009"/>
          <a:lstStyle/>
          <a:p>
            <a:endParaRPr lang="fr-CA"/>
          </a:p>
        </p:txBody>
      </p:sp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4543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531813"/>
            <a:ext cx="3543300" cy="26574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84798" y="3320144"/>
            <a:ext cx="6440805" cy="5400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67" tIns="47733" rIns="95467" bIns="477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 smtClean="0"/>
              <a:t>Cliquez pour modifier les styles du texte du masque</a:t>
            </a:r>
          </a:p>
          <a:p>
            <a:pPr lvl="1"/>
            <a:r>
              <a:rPr lang="fr-CA" smtClean="0"/>
              <a:t>Deuxième niveau</a:t>
            </a:r>
          </a:p>
          <a:p>
            <a:pPr lvl="2"/>
            <a:r>
              <a:rPr lang="fr-CA" smtClean="0"/>
              <a:t>Troisième niveau</a:t>
            </a:r>
          </a:p>
          <a:p>
            <a:pPr lvl="3"/>
            <a:r>
              <a:rPr lang="fr-CA" smtClean="0"/>
              <a:t>Quatr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70801" y="8829121"/>
            <a:ext cx="3132469" cy="319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67" tIns="47733" rIns="95467" bIns="47733" numCol="1" anchor="b" anchorCtr="0" compatLnSpc="1">
            <a:prstTxWarp prst="textNoShape">
              <a:avLst/>
            </a:prstTxWarp>
          </a:bodyPr>
          <a:lstStyle>
            <a:lvl1pPr defTabSz="955751">
              <a:defRPr sz="1300"/>
            </a:lvl1pPr>
          </a:lstStyle>
          <a:p>
            <a:endParaRPr lang="fr-CA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786180" y="8836411"/>
            <a:ext cx="1985942" cy="312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467" tIns="47733" rIns="95467" bIns="47733" numCol="1" anchor="b" anchorCtr="0" compatLnSpc="1">
            <a:prstTxWarp prst="textNoShape">
              <a:avLst/>
            </a:prstTxWarp>
          </a:bodyPr>
          <a:lstStyle>
            <a:lvl1pPr algn="r" defTabSz="955751">
              <a:defRPr sz="1300"/>
            </a:lvl1pPr>
          </a:lstStyle>
          <a:p>
            <a:fld id="{3508C79B-E285-41AC-8C01-07D524FD8464}" type="slidenum">
              <a:rPr lang="fr-CA"/>
              <a:pPr/>
              <a:t>‹N°›</a:t>
            </a:fld>
            <a:endParaRPr lang="fr-CA"/>
          </a:p>
        </p:txBody>
      </p:sp>
      <p:sp>
        <p:nvSpPr>
          <p:cNvPr id="5141" name="Line 21"/>
          <p:cNvSpPr>
            <a:spLocks noChangeShapeType="1"/>
          </p:cNvSpPr>
          <p:nvPr/>
        </p:nvSpPr>
        <p:spPr bwMode="auto">
          <a:xfrm flipV="1">
            <a:off x="270801" y="0"/>
            <a:ext cx="0" cy="331339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6018" tIns="43009" rIns="86018" bIns="43009"/>
          <a:lstStyle/>
          <a:p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608815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14978" indent="-114978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222957" indent="-107979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337935" indent="-114978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050" kern="1200">
        <a:solidFill>
          <a:schemeClr val="tx1"/>
        </a:solidFill>
        <a:latin typeface="Arial" charset="0"/>
        <a:ea typeface="+mn-ea"/>
        <a:cs typeface="+mn-cs"/>
      </a:defRPr>
    </a:lvl3pPr>
    <a:lvl4pPr marL="453913" indent="-115978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2008068" indent="-179965" algn="l" rtl="0" fontAlgn="base">
      <a:spcBef>
        <a:spcPct val="30000"/>
      </a:spcBef>
      <a:spcAft>
        <a:spcPct val="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Arial" charset="0"/>
        <a:ea typeface="+mn-ea"/>
        <a:cs typeface="+mn-cs"/>
      </a:defRPr>
    </a:lvl5pPr>
    <a:lvl6pPr marL="2285128" algn="l" defTabSz="9140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54" algn="l" defTabSz="9140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79" algn="l" defTabSz="9140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205" algn="l" defTabSz="91405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3" Type="http://schemas.openxmlformats.org/officeDocument/2006/relationships/tags" Target="../tags/tag22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8.jpeg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image" Target="../media/image7.emf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tags" Target="../tags/tag56.xml"/><Relationship Id="rId26" Type="http://schemas.openxmlformats.org/officeDocument/2006/relationships/oleObject" Target="../embeddings/oleObject5.bin"/><Relationship Id="rId3" Type="http://schemas.openxmlformats.org/officeDocument/2006/relationships/tags" Target="../tags/tag41.xml"/><Relationship Id="rId21" Type="http://schemas.openxmlformats.org/officeDocument/2006/relationships/tags" Target="../tags/tag59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5" Type="http://schemas.openxmlformats.org/officeDocument/2006/relationships/image" Target="../media/image8.jpeg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tags" Target="../tags/tag5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24" Type="http://schemas.openxmlformats.org/officeDocument/2006/relationships/image" Target="../media/image7.emf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48.xml"/><Relationship Id="rId19" Type="http://schemas.openxmlformats.org/officeDocument/2006/relationships/tags" Target="../tags/tag57.xml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Relationship Id="rId22" Type="http://schemas.openxmlformats.org/officeDocument/2006/relationships/slideMaster" Target="../slideMasters/slideMaster3.xml"/><Relationship Id="rId27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3" Type="http://schemas.openxmlformats.org/officeDocument/2006/relationships/tags" Target="../tags/tag61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vmlDrawing" Target="../drawings/vmlDrawing5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image" Target="../media/image8.jpeg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image" Target="../media/image7.emf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oleObject" Target="../embeddings/oleObject6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18" Type="http://schemas.openxmlformats.org/officeDocument/2006/relationships/tags" Target="../tags/tag95.xml"/><Relationship Id="rId3" Type="http://schemas.openxmlformats.org/officeDocument/2006/relationships/tags" Target="../tags/tag80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tags" Target="../tags/tag94.xml"/><Relationship Id="rId2" Type="http://schemas.openxmlformats.org/officeDocument/2006/relationships/tags" Target="../tags/tag79.xml"/><Relationship Id="rId16" Type="http://schemas.openxmlformats.org/officeDocument/2006/relationships/tags" Target="../tags/tag93.xml"/><Relationship Id="rId20" Type="http://schemas.openxmlformats.org/officeDocument/2006/relationships/tags" Target="../tags/tag97.xml"/><Relationship Id="rId1" Type="http://schemas.openxmlformats.org/officeDocument/2006/relationships/vmlDrawing" Target="../drawings/vmlDrawing6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24" Type="http://schemas.openxmlformats.org/officeDocument/2006/relationships/image" Target="../media/image8.jpeg"/><Relationship Id="rId5" Type="http://schemas.openxmlformats.org/officeDocument/2006/relationships/tags" Target="../tags/tag82.xml"/><Relationship Id="rId15" Type="http://schemas.openxmlformats.org/officeDocument/2006/relationships/tags" Target="../tags/tag92.xml"/><Relationship Id="rId23" Type="http://schemas.openxmlformats.org/officeDocument/2006/relationships/image" Target="../media/image7.emf"/><Relationship Id="rId10" Type="http://schemas.openxmlformats.org/officeDocument/2006/relationships/tags" Target="../tags/tag87.xml"/><Relationship Id="rId19" Type="http://schemas.openxmlformats.org/officeDocument/2006/relationships/tags" Target="../tags/tag96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tags" Target="../tags/tag91.xml"/><Relationship Id="rId22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3" Type="http://schemas.openxmlformats.org/officeDocument/2006/relationships/tags" Target="../tags/tag119.xml"/><Relationship Id="rId21" Type="http://schemas.openxmlformats.org/officeDocument/2006/relationships/slideMaster" Target="../slideMasters/slideMaster4.xml"/><Relationship Id="rId7" Type="http://schemas.openxmlformats.org/officeDocument/2006/relationships/tags" Target="../tags/tag123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" Type="http://schemas.openxmlformats.org/officeDocument/2006/relationships/tags" Target="../tags/tag118.xml"/><Relationship Id="rId16" Type="http://schemas.openxmlformats.org/officeDocument/2006/relationships/tags" Target="../tags/tag132.xml"/><Relationship Id="rId20" Type="http://schemas.openxmlformats.org/officeDocument/2006/relationships/tags" Target="../tags/tag136.xml"/><Relationship Id="rId1" Type="http://schemas.openxmlformats.org/officeDocument/2006/relationships/vmlDrawing" Target="../drawings/vmlDrawing9.v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24" Type="http://schemas.openxmlformats.org/officeDocument/2006/relationships/image" Target="../media/image8.jpeg"/><Relationship Id="rId5" Type="http://schemas.openxmlformats.org/officeDocument/2006/relationships/tags" Target="../tags/tag121.xml"/><Relationship Id="rId15" Type="http://schemas.openxmlformats.org/officeDocument/2006/relationships/tags" Target="../tags/tag131.xml"/><Relationship Id="rId23" Type="http://schemas.openxmlformats.org/officeDocument/2006/relationships/image" Target="../media/image7.emf"/><Relationship Id="rId10" Type="http://schemas.openxmlformats.org/officeDocument/2006/relationships/tags" Target="../tags/tag126.xml"/><Relationship Id="rId19" Type="http://schemas.openxmlformats.org/officeDocument/2006/relationships/tags" Target="../tags/tag135.xml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tags" Target="../tags/tag130.xml"/><Relationship Id="rId22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3" Type="http://schemas.openxmlformats.org/officeDocument/2006/relationships/tags" Target="../tags/tag138.xml"/><Relationship Id="rId21" Type="http://schemas.openxmlformats.org/officeDocument/2006/relationships/slideMaster" Target="../slideMasters/slideMaster4.xml"/><Relationship Id="rId7" Type="http://schemas.openxmlformats.org/officeDocument/2006/relationships/tags" Target="../tags/tag142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image" Target="../media/image8.jpeg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image" Target="../media/image7.emf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157.xml"/><Relationship Id="rId21" Type="http://schemas.openxmlformats.org/officeDocument/2006/relationships/tags" Target="../tags/tag175.xml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5" Type="http://schemas.openxmlformats.org/officeDocument/2006/relationships/image" Target="../media/image8.jpeg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tags" Target="../tags/tag17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24" Type="http://schemas.openxmlformats.org/officeDocument/2006/relationships/image" Target="../media/image7.emf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23" Type="http://schemas.openxmlformats.org/officeDocument/2006/relationships/oleObject" Target="../embeddings/oleObject12.bin"/><Relationship Id="rId10" Type="http://schemas.openxmlformats.org/officeDocument/2006/relationships/tags" Target="../tags/tag164.xml"/><Relationship Id="rId19" Type="http://schemas.openxmlformats.org/officeDocument/2006/relationships/tags" Target="../tags/tag173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Relationship Id="rId22" Type="http://schemas.openxmlformats.org/officeDocument/2006/relationships/slideMaster" Target="../slideMasters/slideMaster4.xml"/><Relationship Id="rId27" Type="http://schemas.openxmlformats.org/officeDocument/2006/relationships/image" Target="../media/image9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18" Type="http://schemas.openxmlformats.org/officeDocument/2006/relationships/tags" Target="../tags/tag192.xml"/><Relationship Id="rId3" Type="http://schemas.openxmlformats.org/officeDocument/2006/relationships/tags" Target="../tags/tag177.xml"/><Relationship Id="rId21" Type="http://schemas.openxmlformats.org/officeDocument/2006/relationships/slideMaster" Target="../slideMasters/slideMaster4.xml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17" Type="http://schemas.openxmlformats.org/officeDocument/2006/relationships/tags" Target="../tags/tag191.xml"/><Relationship Id="rId2" Type="http://schemas.openxmlformats.org/officeDocument/2006/relationships/tags" Target="../tags/tag176.xml"/><Relationship Id="rId16" Type="http://schemas.openxmlformats.org/officeDocument/2006/relationships/tags" Target="../tags/tag190.xml"/><Relationship Id="rId20" Type="http://schemas.openxmlformats.org/officeDocument/2006/relationships/tags" Target="../tags/tag19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24" Type="http://schemas.openxmlformats.org/officeDocument/2006/relationships/image" Target="../media/image8.jpeg"/><Relationship Id="rId5" Type="http://schemas.openxmlformats.org/officeDocument/2006/relationships/tags" Target="../tags/tag179.xml"/><Relationship Id="rId15" Type="http://schemas.openxmlformats.org/officeDocument/2006/relationships/tags" Target="../tags/tag189.xml"/><Relationship Id="rId23" Type="http://schemas.openxmlformats.org/officeDocument/2006/relationships/image" Target="../media/image7.emf"/><Relationship Id="rId10" Type="http://schemas.openxmlformats.org/officeDocument/2006/relationships/tags" Target="../tags/tag184.xml"/><Relationship Id="rId19" Type="http://schemas.openxmlformats.org/officeDocument/2006/relationships/tags" Target="../tags/tag193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tags" Target="../tags/tag188.xml"/><Relationship Id="rId22" Type="http://schemas.openxmlformats.org/officeDocument/2006/relationships/oleObject" Target="../embeddings/oleObject1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tags" Target="../tags/tag206.xml"/><Relationship Id="rId18" Type="http://schemas.openxmlformats.org/officeDocument/2006/relationships/tags" Target="../tags/tag211.xml"/><Relationship Id="rId3" Type="http://schemas.openxmlformats.org/officeDocument/2006/relationships/tags" Target="../tags/tag196.xml"/><Relationship Id="rId21" Type="http://schemas.openxmlformats.org/officeDocument/2006/relationships/slideMaster" Target="../slideMasters/slideMaster4.xml"/><Relationship Id="rId7" Type="http://schemas.openxmlformats.org/officeDocument/2006/relationships/tags" Target="../tags/tag200.xml"/><Relationship Id="rId12" Type="http://schemas.openxmlformats.org/officeDocument/2006/relationships/tags" Target="../tags/tag205.xml"/><Relationship Id="rId17" Type="http://schemas.openxmlformats.org/officeDocument/2006/relationships/tags" Target="../tags/tag210.xml"/><Relationship Id="rId2" Type="http://schemas.openxmlformats.org/officeDocument/2006/relationships/tags" Target="../tags/tag195.xml"/><Relationship Id="rId16" Type="http://schemas.openxmlformats.org/officeDocument/2006/relationships/tags" Target="../tags/tag209.xml"/><Relationship Id="rId20" Type="http://schemas.openxmlformats.org/officeDocument/2006/relationships/tags" Target="../tags/tag213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24" Type="http://schemas.openxmlformats.org/officeDocument/2006/relationships/image" Target="../media/image8.jpeg"/><Relationship Id="rId5" Type="http://schemas.openxmlformats.org/officeDocument/2006/relationships/tags" Target="../tags/tag198.xml"/><Relationship Id="rId15" Type="http://schemas.openxmlformats.org/officeDocument/2006/relationships/tags" Target="../tags/tag208.xml"/><Relationship Id="rId23" Type="http://schemas.openxmlformats.org/officeDocument/2006/relationships/image" Target="../media/image7.emf"/><Relationship Id="rId10" Type="http://schemas.openxmlformats.org/officeDocument/2006/relationships/tags" Target="../tags/tag203.xml"/><Relationship Id="rId19" Type="http://schemas.openxmlformats.org/officeDocument/2006/relationships/tags" Target="../tags/tag212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tags" Target="../tags/tag207.xml"/><Relationship Id="rId22" Type="http://schemas.openxmlformats.org/officeDocument/2006/relationships/oleObject" Target="../embeddings/oleObject15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20.xml"/><Relationship Id="rId13" Type="http://schemas.openxmlformats.org/officeDocument/2006/relationships/tags" Target="../tags/tag225.xml"/><Relationship Id="rId18" Type="http://schemas.openxmlformats.org/officeDocument/2006/relationships/tags" Target="../tags/tag230.xml"/><Relationship Id="rId3" Type="http://schemas.openxmlformats.org/officeDocument/2006/relationships/tags" Target="../tags/tag215.xml"/><Relationship Id="rId21" Type="http://schemas.openxmlformats.org/officeDocument/2006/relationships/slideMaster" Target="../slideMasters/slideMaster4.xml"/><Relationship Id="rId7" Type="http://schemas.openxmlformats.org/officeDocument/2006/relationships/tags" Target="../tags/tag219.xml"/><Relationship Id="rId12" Type="http://schemas.openxmlformats.org/officeDocument/2006/relationships/tags" Target="../tags/tag224.xml"/><Relationship Id="rId17" Type="http://schemas.openxmlformats.org/officeDocument/2006/relationships/tags" Target="../tags/tag229.xml"/><Relationship Id="rId2" Type="http://schemas.openxmlformats.org/officeDocument/2006/relationships/tags" Target="../tags/tag214.xml"/><Relationship Id="rId16" Type="http://schemas.openxmlformats.org/officeDocument/2006/relationships/tags" Target="../tags/tag228.xml"/><Relationship Id="rId20" Type="http://schemas.openxmlformats.org/officeDocument/2006/relationships/tags" Target="../tags/tag23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18.xml"/><Relationship Id="rId11" Type="http://schemas.openxmlformats.org/officeDocument/2006/relationships/tags" Target="../tags/tag223.xml"/><Relationship Id="rId24" Type="http://schemas.openxmlformats.org/officeDocument/2006/relationships/image" Target="../media/image8.jpeg"/><Relationship Id="rId5" Type="http://schemas.openxmlformats.org/officeDocument/2006/relationships/tags" Target="../tags/tag217.xml"/><Relationship Id="rId15" Type="http://schemas.openxmlformats.org/officeDocument/2006/relationships/tags" Target="../tags/tag227.xml"/><Relationship Id="rId23" Type="http://schemas.openxmlformats.org/officeDocument/2006/relationships/image" Target="../media/image7.emf"/><Relationship Id="rId10" Type="http://schemas.openxmlformats.org/officeDocument/2006/relationships/tags" Target="../tags/tag222.xml"/><Relationship Id="rId19" Type="http://schemas.openxmlformats.org/officeDocument/2006/relationships/tags" Target="../tags/tag231.xml"/><Relationship Id="rId4" Type="http://schemas.openxmlformats.org/officeDocument/2006/relationships/tags" Target="../tags/tag216.xml"/><Relationship Id="rId9" Type="http://schemas.openxmlformats.org/officeDocument/2006/relationships/tags" Target="../tags/tag221.xml"/><Relationship Id="rId14" Type="http://schemas.openxmlformats.org/officeDocument/2006/relationships/tags" Target="../tags/tag226.xml"/><Relationship Id="rId22" Type="http://schemas.openxmlformats.org/officeDocument/2006/relationships/oleObject" Target="../embeddings/oleObject16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13" Type="http://schemas.openxmlformats.org/officeDocument/2006/relationships/tags" Target="../tags/tag285.xml"/><Relationship Id="rId18" Type="http://schemas.openxmlformats.org/officeDocument/2006/relationships/tags" Target="../tags/tag290.xml"/><Relationship Id="rId3" Type="http://schemas.openxmlformats.org/officeDocument/2006/relationships/tags" Target="../tags/tag275.xml"/><Relationship Id="rId21" Type="http://schemas.openxmlformats.org/officeDocument/2006/relationships/slideMaster" Target="../slideMasters/slideMaster7.xml"/><Relationship Id="rId7" Type="http://schemas.openxmlformats.org/officeDocument/2006/relationships/tags" Target="../tags/tag279.xml"/><Relationship Id="rId12" Type="http://schemas.openxmlformats.org/officeDocument/2006/relationships/tags" Target="../tags/tag284.xml"/><Relationship Id="rId17" Type="http://schemas.openxmlformats.org/officeDocument/2006/relationships/tags" Target="../tags/tag289.xml"/><Relationship Id="rId2" Type="http://schemas.openxmlformats.org/officeDocument/2006/relationships/tags" Target="../tags/tag274.xml"/><Relationship Id="rId16" Type="http://schemas.openxmlformats.org/officeDocument/2006/relationships/tags" Target="../tags/tag288.xml"/><Relationship Id="rId20" Type="http://schemas.openxmlformats.org/officeDocument/2006/relationships/tags" Target="../tags/tag292.xml"/><Relationship Id="rId1" Type="http://schemas.openxmlformats.org/officeDocument/2006/relationships/vmlDrawing" Target="../drawings/vmlDrawing20.vml"/><Relationship Id="rId6" Type="http://schemas.openxmlformats.org/officeDocument/2006/relationships/tags" Target="../tags/tag278.xml"/><Relationship Id="rId11" Type="http://schemas.openxmlformats.org/officeDocument/2006/relationships/tags" Target="../tags/tag283.xml"/><Relationship Id="rId24" Type="http://schemas.openxmlformats.org/officeDocument/2006/relationships/image" Target="../media/image12.jpeg"/><Relationship Id="rId5" Type="http://schemas.openxmlformats.org/officeDocument/2006/relationships/tags" Target="../tags/tag277.xml"/><Relationship Id="rId15" Type="http://schemas.openxmlformats.org/officeDocument/2006/relationships/tags" Target="../tags/tag287.xml"/><Relationship Id="rId23" Type="http://schemas.openxmlformats.org/officeDocument/2006/relationships/image" Target="../media/image7.emf"/><Relationship Id="rId10" Type="http://schemas.openxmlformats.org/officeDocument/2006/relationships/tags" Target="../tags/tag282.xml"/><Relationship Id="rId19" Type="http://schemas.openxmlformats.org/officeDocument/2006/relationships/tags" Target="../tags/tag291.xml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4" Type="http://schemas.openxmlformats.org/officeDocument/2006/relationships/tags" Target="../tags/tag286.xml"/><Relationship Id="rId22" Type="http://schemas.openxmlformats.org/officeDocument/2006/relationships/oleObject" Target="../embeddings/oleObject22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13" Type="http://schemas.openxmlformats.org/officeDocument/2006/relationships/tags" Target="../tags/tag304.xml"/><Relationship Id="rId18" Type="http://schemas.openxmlformats.org/officeDocument/2006/relationships/tags" Target="../tags/tag309.xml"/><Relationship Id="rId3" Type="http://schemas.openxmlformats.org/officeDocument/2006/relationships/tags" Target="../tags/tag294.xml"/><Relationship Id="rId21" Type="http://schemas.openxmlformats.org/officeDocument/2006/relationships/slideMaster" Target="../slideMasters/slideMaster7.xml"/><Relationship Id="rId7" Type="http://schemas.openxmlformats.org/officeDocument/2006/relationships/tags" Target="../tags/tag298.xml"/><Relationship Id="rId12" Type="http://schemas.openxmlformats.org/officeDocument/2006/relationships/tags" Target="../tags/tag303.xml"/><Relationship Id="rId17" Type="http://schemas.openxmlformats.org/officeDocument/2006/relationships/tags" Target="../tags/tag308.xml"/><Relationship Id="rId2" Type="http://schemas.openxmlformats.org/officeDocument/2006/relationships/tags" Target="../tags/tag293.xml"/><Relationship Id="rId16" Type="http://schemas.openxmlformats.org/officeDocument/2006/relationships/tags" Target="../tags/tag307.xml"/><Relationship Id="rId20" Type="http://schemas.openxmlformats.org/officeDocument/2006/relationships/tags" Target="../tags/tag31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97.xml"/><Relationship Id="rId11" Type="http://schemas.openxmlformats.org/officeDocument/2006/relationships/tags" Target="../tags/tag302.xml"/><Relationship Id="rId24" Type="http://schemas.openxmlformats.org/officeDocument/2006/relationships/image" Target="../media/image12.jpeg"/><Relationship Id="rId5" Type="http://schemas.openxmlformats.org/officeDocument/2006/relationships/tags" Target="../tags/tag296.xml"/><Relationship Id="rId15" Type="http://schemas.openxmlformats.org/officeDocument/2006/relationships/tags" Target="../tags/tag306.xml"/><Relationship Id="rId23" Type="http://schemas.openxmlformats.org/officeDocument/2006/relationships/image" Target="../media/image7.emf"/><Relationship Id="rId10" Type="http://schemas.openxmlformats.org/officeDocument/2006/relationships/tags" Target="../tags/tag301.xml"/><Relationship Id="rId19" Type="http://schemas.openxmlformats.org/officeDocument/2006/relationships/tags" Target="../tags/tag310.xml"/><Relationship Id="rId4" Type="http://schemas.openxmlformats.org/officeDocument/2006/relationships/tags" Target="../tags/tag295.xml"/><Relationship Id="rId9" Type="http://schemas.openxmlformats.org/officeDocument/2006/relationships/tags" Target="../tags/tag300.xml"/><Relationship Id="rId14" Type="http://schemas.openxmlformats.org/officeDocument/2006/relationships/tags" Target="../tags/tag305.xml"/><Relationship Id="rId22" Type="http://schemas.openxmlformats.org/officeDocument/2006/relationships/oleObject" Target="../embeddings/oleObject23.bin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13" Type="http://schemas.openxmlformats.org/officeDocument/2006/relationships/tags" Target="../tags/tag323.xml"/><Relationship Id="rId18" Type="http://schemas.openxmlformats.org/officeDocument/2006/relationships/tags" Target="../tags/tag328.xml"/><Relationship Id="rId26" Type="http://schemas.openxmlformats.org/officeDocument/2006/relationships/oleObject" Target="../embeddings/oleObject25.bin"/><Relationship Id="rId3" Type="http://schemas.openxmlformats.org/officeDocument/2006/relationships/tags" Target="../tags/tag313.xml"/><Relationship Id="rId21" Type="http://schemas.openxmlformats.org/officeDocument/2006/relationships/tags" Target="../tags/tag331.xml"/><Relationship Id="rId7" Type="http://schemas.openxmlformats.org/officeDocument/2006/relationships/tags" Target="../tags/tag317.xml"/><Relationship Id="rId12" Type="http://schemas.openxmlformats.org/officeDocument/2006/relationships/tags" Target="../tags/tag322.xml"/><Relationship Id="rId17" Type="http://schemas.openxmlformats.org/officeDocument/2006/relationships/tags" Target="../tags/tag327.xml"/><Relationship Id="rId25" Type="http://schemas.openxmlformats.org/officeDocument/2006/relationships/image" Target="../media/image12.jpeg"/><Relationship Id="rId2" Type="http://schemas.openxmlformats.org/officeDocument/2006/relationships/tags" Target="../tags/tag312.xml"/><Relationship Id="rId16" Type="http://schemas.openxmlformats.org/officeDocument/2006/relationships/tags" Target="../tags/tag326.xml"/><Relationship Id="rId20" Type="http://schemas.openxmlformats.org/officeDocument/2006/relationships/tags" Target="../tags/tag330.xml"/><Relationship Id="rId1" Type="http://schemas.openxmlformats.org/officeDocument/2006/relationships/vmlDrawing" Target="../drawings/vmlDrawing22.vml"/><Relationship Id="rId6" Type="http://schemas.openxmlformats.org/officeDocument/2006/relationships/tags" Target="../tags/tag316.xml"/><Relationship Id="rId11" Type="http://schemas.openxmlformats.org/officeDocument/2006/relationships/tags" Target="../tags/tag321.xml"/><Relationship Id="rId24" Type="http://schemas.openxmlformats.org/officeDocument/2006/relationships/image" Target="../media/image7.emf"/><Relationship Id="rId5" Type="http://schemas.openxmlformats.org/officeDocument/2006/relationships/tags" Target="../tags/tag315.xml"/><Relationship Id="rId15" Type="http://schemas.openxmlformats.org/officeDocument/2006/relationships/tags" Target="../tags/tag325.xml"/><Relationship Id="rId23" Type="http://schemas.openxmlformats.org/officeDocument/2006/relationships/oleObject" Target="../embeddings/oleObject24.bin"/><Relationship Id="rId10" Type="http://schemas.openxmlformats.org/officeDocument/2006/relationships/tags" Target="../tags/tag320.xml"/><Relationship Id="rId19" Type="http://schemas.openxmlformats.org/officeDocument/2006/relationships/tags" Target="../tags/tag329.xml"/><Relationship Id="rId4" Type="http://schemas.openxmlformats.org/officeDocument/2006/relationships/tags" Target="../tags/tag314.xml"/><Relationship Id="rId9" Type="http://schemas.openxmlformats.org/officeDocument/2006/relationships/tags" Target="../tags/tag319.xml"/><Relationship Id="rId14" Type="http://schemas.openxmlformats.org/officeDocument/2006/relationships/tags" Target="../tags/tag324.xml"/><Relationship Id="rId22" Type="http://schemas.openxmlformats.org/officeDocument/2006/relationships/slideMaster" Target="../slideMasters/slideMaster7.xml"/><Relationship Id="rId27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13" Type="http://schemas.openxmlformats.org/officeDocument/2006/relationships/tags" Target="../tags/tag343.xml"/><Relationship Id="rId18" Type="http://schemas.openxmlformats.org/officeDocument/2006/relationships/tags" Target="../tags/tag348.xml"/><Relationship Id="rId3" Type="http://schemas.openxmlformats.org/officeDocument/2006/relationships/tags" Target="../tags/tag333.xml"/><Relationship Id="rId21" Type="http://schemas.openxmlformats.org/officeDocument/2006/relationships/slideMaster" Target="../slideMasters/slideMaster7.xml"/><Relationship Id="rId7" Type="http://schemas.openxmlformats.org/officeDocument/2006/relationships/tags" Target="../tags/tag337.xml"/><Relationship Id="rId12" Type="http://schemas.openxmlformats.org/officeDocument/2006/relationships/tags" Target="../tags/tag342.xml"/><Relationship Id="rId17" Type="http://schemas.openxmlformats.org/officeDocument/2006/relationships/tags" Target="../tags/tag347.xml"/><Relationship Id="rId2" Type="http://schemas.openxmlformats.org/officeDocument/2006/relationships/tags" Target="../tags/tag332.xml"/><Relationship Id="rId16" Type="http://schemas.openxmlformats.org/officeDocument/2006/relationships/tags" Target="../tags/tag346.xml"/><Relationship Id="rId20" Type="http://schemas.openxmlformats.org/officeDocument/2006/relationships/tags" Target="../tags/tag35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336.xml"/><Relationship Id="rId11" Type="http://schemas.openxmlformats.org/officeDocument/2006/relationships/tags" Target="../tags/tag341.xml"/><Relationship Id="rId24" Type="http://schemas.openxmlformats.org/officeDocument/2006/relationships/image" Target="../media/image12.jpeg"/><Relationship Id="rId5" Type="http://schemas.openxmlformats.org/officeDocument/2006/relationships/tags" Target="../tags/tag335.xml"/><Relationship Id="rId15" Type="http://schemas.openxmlformats.org/officeDocument/2006/relationships/tags" Target="../tags/tag345.xml"/><Relationship Id="rId23" Type="http://schemas.openxmlformats.org/officeDocument/2006/relationships/image" Target="../media/image7.emf"/><Relationship Id="rId10" Type="http://schemas.openxmlformats.org/officeDocument/2006/relationships/tags" Target="../tags/tag340.xml"/><Relationship Id="rId19" Type="http://schemas.openxmlformats.org/officeDocument/2006/relationships/tags" Target="../tags/tag349.xml"/><Relationship Id="rId4" Type="http://schemas.openxmlformats.org/officeDocument/2006/relationships/tags" Target="../tags/tag334.xml"/><Relationship Id="rId9" Type="http://schemas.openxmlformats.org/officeDocument/2006/relationships/tags" Target="../tags/tag339.xml"/><Relationship Id="rId14" Type="http://schemas.openxmlformats.org/officeDocument/2006/relationships/tags" Target="../tags/tag344.xml"/><Relationship Id="rId22" Type="http://schemas.openxmlformats.org/officeDocument/2006/relationships/oleObject" Target="../embeddings/oleObject2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8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7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9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9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398.xml"/><Relationship Id="rId13" Type="http://schemas.openxmlformats.org/officeDocument/2006/relationships/tags" Target="../tags/tag403.xml"/><Relationship Id="rId18" Type="http://schemas.openxmlformats.org/officeDocument/2006/relationships/tags" Target="../tags/tag408.xml"/><Relationship Id="rId3" Type="http://schemas.openxmlformats.org/officeDocument/2006/relationships/tags" Target="../tags/tag393.xml"/><Relationship Id="rId21" Type="http://schemas.openxmlformats.org/officeDocument/2006/relationships/slideMaster" Target="../slideMasters/slideMaster10.xml"/><Relationship Id="rId7" Type="http://schemas.openxmlformats.org/officeDocument/2006/relationships/tags" Target="../tags/tag397.xml"/><Relationship Id="rId12" Type="http://schemas.openxmlformats.org/officeDocument/2006/relationships/tags" Target="../tags/tag402.xml"/><Relationship Id="rId17" Type="http://schemas.openxmlformats.org/officeDocument/2006/relationships/tags" Target="../tags/tag407.xml"/><Relationship Id="rId2" Type="http://schemas.openxmlformats.org/officeDocument/2006/relationships/tags" Target="../tags/tag392.xml"/><Relationship Id="rId16" Type="http://schemas.openxmlformats.org/officeDocument/2006/relationships/tags" Target="../tags/tag406.xml"/><Relationship Id="rId20" Type="http://schemas.openxmlformats.org/officeDocument/2006/relationships/tags" Target="../tags/tag410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96.xml"/><Relationship Id="rId11" Type="http://schemas.openxmlformats.org/officeDocument/2006/relationships/tags" Target="../tags/tag401.xml"/><Relationship Id="rId24" Type="http://schemas.openxmlformats.org/officeDocument/2006/relationships/image" Target="../media/image12.jpeg"/><Relationship Id="rId5" Type="http://schemas.openxmlformats.org/officeDocument/2006/relationships/tags" Target="../tags/tag395.xml"/><Relationship Id="rId15" Type="http://schemas.openxmlformats.org/officeDocument/2006/relationships/tags" Target="../tags/tag405.xml"/><Relationship Id="rId23" Type="http://schemas.openxmlformats.org/officeDocument/2006/relationships/image" Target="../media/image7.emf"/><Relationship Id="rId10" Type="http://schemas.openxmlformats.org/officeDocument/2006/relationships/tags" Target="../tags/tag400.xml"/><Relationship Id="rId19" Type="http://schemas.openxmlformats.org/officeDocument/2006/relationships/tags" Target="../tags/tag409.xml"/><Relationship Id="rId4" Type="http://schemas.openxmlformats.org/officeDocument/2006/relationships/tags" Target="../tags/tag394.xml"/><Relationship Id="rId9" Type="http://schemas.openxmlformats.org/officeDocument/2006/relationships/tags" Target="../tags/tag399.xml"/><Relationship Id="rId14" Type="http://schemas.openxmlformats.org/officeDocument/2006/relationships/tags" Target="../tags/tag404.xml"/><Relationship Id="rId22" Type="http://schemas.openxmlformats.org/officeDocument/2006/relationships/oleObject" Target="../embeddings/oleObject32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17.xml"/><Relationship Id="rId13" Type="http://schemas.openxmlformats.org/officeDocument/2006/relationships/tags" Target="../tags/tag422.xml"/><Relationship Id="rId18" Type="http://schemas.openxmlformats.org/officeDocument/2006/relationships/tags" Target="../tags/tag427.xml"/><Relationship Id="rId3" Type="http://schemas.openxmlformats.org/officeDocument/2006/relationships/tags" Target="../tags/tag412.xml"/><Relationship Id="rId21" Type="http://schemas.openxmlformats.org/officeDocument/2006/relationships/slideMaster" Target="../slideMasters/slideMaster10.xml"/><Relationship Id="rId7" Type="http://schemas.openxmlformats.org/officeDocument/2006/relationships/tags" Target="../tags/tag416.xml"/><Relationship Id="rId12" Type="http://schemas.openxmlformats.org/officeDocument/2006/relationships/tags" Target="../tags/tag421.xml"/><Relationship Id="rId17" Type="http://schemas.openxmlformats.org/officeDocument/2006/relationships/tags" Target="../tags/tag426.xml"/><Relationship Id="rId2" Type="http://schemas.openxmlformats.org/officeDocument/2006/relationships/tags" Target="../tags/tag411.xml"/><Relationship Id="rId16" Type="http://schemas.openxmlformats.org/officeDocument/2006/relationships/tags" Target="../tags/tag425.xml"/><Relationship Id="rId20" Type="http://schemas.openxmlformats.org/officeDocument/2006/relationships/tags" Target="../tags/tag429.xml"/><Relationship Id="rId1" Type="http://schemas.openxmlformats.org/officeDocument/2006/relationships/vmlDrawing" Target="../drawings/vmlDrawing30.vml"/><Relationship Id="rId6" Type="http://schemas.openxmlformats.org/officeDocument/2006/relationships/tags" Target="../tags/tag415.xml"/><Relationship Id="rId11" Type="http://schemas.openxmlformats.org/officeDocument/2006/relationships/tags" Target="../tags/tag420.xml"/><Relationship Id="rId24" Type="http://schemas.openxmlformats.org/officeDocument/2006/relationships/image" Target="../media/image12.jpeg"/><Relationship Id="rId5" Type="http://schemas.openxmlformats.org/officeDocument/2006/relationships/tags" Target="../tags/tag414.xml"/><Relationship Id="rId15" Type="http://schemas.openxmlformats.org/officeDocument/2006/relationships/tags" Target="../tags/tag424.xml"/><Relationship Id="rId23" Type="http://schemas.openxmlformats.org/officeDocument/2006/relationships/image" Target="../media/image7.emf"/><Relationship Id="rId10" Type="http://schemas.openxmlformats.org/officeDocument/2006/relationships/tags" Target="../tags/tag419.xml"/><Relationship Id="rId19" Type="http://schemas.openxmlformats.org/officeDocument/2006/relationships/tags" Target="../tags/tag428.xml"/><Relationship Id="rId4" Type="http://schemas.openxmlformats.org/officeDocument/2006/relationships/tags" Target="../tags/tag413.xml"/><Relationship Id="rId9" Type="http://schemas.openxmlformats.org/officeDocument/2006/relationships/tags" Target="../tags/tag418.xml"/><Relationship Id="rId14" Type="http://schemas.openxmlformats.org/officeDocument/2006/relationships/tags" Target="../tags/tag423.xml"/><Relationship Id="rId22" Type="http://schemas.openxmlformats.org/officeDocument/2006/relationships/oleObject" Target="../embeddings/oleObject33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436.xml"/><Relationship Id="rId13" Type="http://schemas.openxmlformats.org/officeDocument/2006/relationships/tags" Target="../tags/tag441.xml"/><Relationship Id="rId18" Type="http://schemas.openxmlformats.org/officeDocument/2006/relationships/tags" Target="../tags/tag446.xml"/><Relationship Id="rId26" Type="http://schemas.openxmlformats.org/officeDocument/2006/relationships/oleObject" Target="../embeddings/oleObject35.bin"/><Relationship Id="rId3" Type="http://schemas.openxmlformats.org/officeDocument/2006/relationships/tags" Target="../tags/tag431.xml"/><Relationship Id="rId21" Type="http://schemas.openxmlformats.org/officeDocument/2006/relationships/tags" Target="../tags/tag449.xml"/><Relationship Id="rId7" Type="http://schemas.openxmlformats.org/officeDocument/2006/relationships/tags" Target="../tags/tag435.xml"/><Relationship Id="rId12" Type="http://schemas.openxmlformats.org/officeDocument/2006/relationships/tags" Target="../tags/tag440.xml"/><Relationship Id="rId17" Type="http://schemas.openxmlformats.org/officeDocument/2006/relationships/tags" Target="../tags/tag445.xml"/><Relationship Id="rId25" Type="http://schemas.openxmlformats.org/officeDocument/2006/relationships/image" Target="../media/image12.jpeg"/><Relationship Id="rId2" Type="http://schemas.openxmlformats.org/officeDocument/2006/relationships/tags" Target="../tags/tag430.xml"/><Relationship Id="rId16" Type="http://schemas.openxmlformats.org/officeDocument/2006/relationships/tags" Target="../tags/tag444.xml"/><Relationship Id="rId20" Type="http://schemas.openxmlformats.org/officeDocument/2006/relationships/tags" Target="../tags/tag448.xml"/><Relationship Id="rId1" Type="http://schemas.openxmlformats.org/officeDocument/2006/relationships/vmlDrawing" Target="../drawings/vmlDrawing31.vml"/><Relationship Id="rId6" Type="http://schemas.openxmlformats.org/officeDocument/2006/relationships/tags" Target="../tags/tag434.xml"/><Relationship Id="rId11" Type="http://schemas.openxmlformats.org/officeDocument/2006/relationships/tags" Target="../tags/tag439.xml"/><Relationship Id="rId24" Type="http://schemas.openxmlformats.org/officeDocument/2006/relationships/image" Target="../media/image7.emf"/><Relationship Id="rId5" Type="http://schemas.openxmlformats.org/officeDocument/2006/relationships/tags" Target="../tags/tag433.xml"/><Relationship Id="rId15" Type="http://schemas.openxmlformats.org/officeDocument/2006/relationships/tags" Target="../tags/tag443.xml"/><Relationship Id="rId23" Type="http://schemas.openxmlformats.org/officeDocument/2006/relationships/oleObject" Target="../embeddings/oleObject34.bin"/><Relationship Id="rId10" Type="http://schemas.openxmlformats.org/officeDocument/2006/relationships/tags" Target="../tags/tag438.xml"/><Relationship Id="rId19" Type="http://schemas.openxmlformats.org/officeDocument/2006/relationships/tags" Target="../tags/tag447.xml"/><Relationship Id="rId4" Type="http://schemas.openxmlformats.org/officeDocument/2006/relationships/tags" Target="../tags/tag432.xml"/><Relationship Id="rId9" Type="http://schemas.openxmlformats.org/officeDocument/2006/relationships/tags" Target="../tags/tag437.xml"/><Relationship Id="rId14" Type="http://schemas.openxmlformats.org/officeDocument/2006/relationships/tags" Target="../tags/tag442.xml"/><Relationship Id="rId22" Type="http://schemas.openxmlformats.org/officeDocument/2006/relationships/slideMaster" Target="../slideMasters/slideMaster10.xml"/><Relationship Id="rId27" Type="http://schemas.openxmlformats.org/officeDocument/2006/relationships/image" Target="../media/image9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456.xml"/><Relationship Id="rId13" Type="http://schemas.openxmlformats.org/officeDocument/2006/relationships/tags" Target="../tags/tag461.xml"/><Relationship Id="rId18" Type="http://schemas.openxmlformats.org/officeDocument/2006/relationships/tags" Target="../tags/tag466.xml"/><Relationship Id="rId3" Type="http://schemas.openxmlformats.org/officeDocument/2006/relationships/tags" Target="../tags/tag451.xml"/><Relationship Id="rId21" Type="http://schemas.openxmlformats.org/officeDocument/2006/relationships/slideMaster" Target="../slideMasters/slideMaster10.xml"/><Relationship Id="rId7" Type="http://schemas.openxmlformats.org/officeDocument/2006/relationships/tags" Target="../tags/tag455.xml"/><Relationship Id="rId12" Type="http://schemas.openxmlformats.org/officeDocument/2006/relationships/tags" Target="../tags/tag460.xml"/><Relationship Id="rId17" Type="http://schemas.openxmlformats.org/officeDocument/2006/relationships/tags" Target="../tags/tag465.xml"/><Relationship Id="rId2" Type="http://schemas.openxmlformats.org/officeDocument/2006/relationships/tags" Target="../tags/tag450.xml"/><Relationship Id="rId16" Type="http://schemas.openxmlformats.org/officeDocument/2006/relationships/tags" Target="../tags/tag464.xml"/><Relationship Id="rId20" Type="http://schemas.openxmlformats.org/officeDocument/2006/relationships/tags" Target="../tags/tag468.xml"/><Relationship Id="rId1" Type="http://schemas.openxmlformats.org/officeDocument/2006/relationships/vmlDrawing" Target="../drawings/vmlDrawing32.vml"/><Relationship Id="rId6" Type="http://schemas.openxmlformats.org/officeDocument/2006/relationships/tags" Target="../tags/tag454.xml"/><Relationship Id="rId11" Type="http://schemas.openxmlformats.org/officeDocument/2006/relationships/tags" Target="../tags/tag459.xml"/><Relationship Id="rId24" Type="http://schemas.openxmlformats.org/officeDocument/2006/relationships/image" Target="../media/image12.jpeg"/><Relationship Id="rId5" Type="http://schemas.openxmlformats.org/officeDocument/2006/relationships/tags" Target="../tags/tag453.xml"/><Relationship Id="rId15" Type="http://schemas.openxmlformats.org/officeDocument/2006/relationships/tags" Target="../tags/tag463.xml"/><Relationship Id="rId23" Type="http://schemas.openxmlformats.org/officeDocument/2006/relationships/image" Target="../media/image7.emf"/><Relationship Id="rId10" Type="http://schemas.openxmlformats.org/officeDocument/2006/relationships/tags" Target="../tags/tag458.xml"/><Relationship Id="rId19" Type="http://schemas.openxmlformats.org/officeDocument/2006/relationships/tags" Target="../tags/tag467.xml"/><Relationship Id="rId4" Type="http://schemas.openxmlformats.org/officeDocument/2006/relationships/tags" Target="../tags/tag452.xml"/><Relationship Id="rId9" Type="http://schemas.openxmlformats.org/officeDocument/2006/relationships/tags" Target="../tags/tag457.xml"/><Relationship Id="rId14" Type="http://schemas.openxmlformats.org/officeDocument/2006/relationships/tags" Target="../tags/tag462.xml"/><Relationship Id="rId22" Type="http://schemas.openxmlformats.org/officeDocument/2006/relationships/oleObject" Target="../embeddings/oleObject3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Diapositive de tit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4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95525" y="796575"/>
            <a:ext cx="5605463" cy="1718025"/>
          </a:xfrm>
        </p:spPr>
        <p:txBody>
          <a:bodyPr/>
          <a:lstStyle>
            <a:lvl1pPr>
              <a:lnSpc>
                <a:spcPct val="85000"/>
              </a:lnSpc>
              <a:defRPr sz="3800" b="1"/>
            </a:lvl1pPr>
          </a:lstStyle>
          <a:p>
            <a:pPr lvl="0"/>
            <a:r>
              <a:rPr lang="fr-CA" noProof="0" dirty="0" smtClean="0"/>
              <a:t>Cliquez pour modifier </a:t>
            </a:r>
            <a:br>
              <a:rPr lang="fr-CA" noProof="0" dirty="0" smtClean="0"/>
            </a:br>
            <a:r>
              <a:rPr lang="fr-CA" noProof="0" dirty="0" smtClean="0"/>
              <a:t>le style du titre</a:t>
            </a:r>
          </a:p>
        </p:txBody>
      </p:sp>
      <p:sp>
        <p:nvSpPr>
          <p:cNvPr id="113049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295525" y="2730500"/>
            <a:ext cx="5605464" cy="996206"/>
          </a:xfrm>
        </p:spPr>
        <p:txBody>
          <a:bodyPr/>
          <a:lstStyle>
            <a:lvl1pPr marL="0" indent="0">
              <a:lnSpc>
                <a:spcPct val="85000"/>
              </a:lnSpc>
              <a:buFont typeface="Wingdings" pitchFamily="2" charset="2"/>
              <a:buNone/>
              <a:defRPr sz="2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fr-CA" noProof="0" dirty="0" smtClean="0"/>
              <a:t>Cliquez pour modifier le style </a:t>
            </a:r>
            <a:br>
              <a:rPr lang="fr-CA" noProof="0" dirty="0" smtClean="0"/>
            </a:br>
            <a:r>
              <a:rPr lang="fr-CA" noProof="0" dirty="0" smtClean="0"/>
              <a:t>des sous-titres du masque</a:t>
            </a:r>
          </a:p>
        </p:txBody>
      </p:sp>
      <p:sp>
        <p:nvSpPr>
          <p:cNvPr id="1130500" name="Rectangle 4"/>
          <p:cNvSpPr>
            <a:spLocks noGrp="1" noChangeArrowheads="1"/>
          </p:cNvSpPr>
          <p:nvPr>
            <p:ph type="sldNum" sz="quarter" idx="4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>
              <a:defRPr lang="fr-CA" smtClean="0"/>
            </a:lvl1pPr>
          </a:lstStyle>
          <a:p>
            <a:fld id="{C5E6F740-C20E-4CFB-88D7-BBF3D5C1F5A5}" type="slidenum">
              <a:rPr lang="fr-CA" smtClean="0"/>
              <a:pPr/>
              <a:t>‹N°›</a:t>
            </a:fld>
            <a:endParaRPr lang="fr-CA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304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304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1304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4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304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0498" grpId="0"/>
      <p:bldP spid="113049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04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049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873376"/>
            <a:ext cx="5938838" cy="1470025"/>
          </a:xfrm>
        </p:spPr>
        <p:txBody>
          <a:bodyPr anchor="b"/>
          <a:lstStyle>
            <a:lvl1pPr>
              <a:defRPr sz="3200"/>
            </a:lvl1pPr>
          </a:lstStyle>
          <a:p>
            <a:pPr lvl="0"/>
            <a:r>
              <a:rPr lang="fr-CA" noProof="0" smtClean="0"/>
              <a:t>Cliquez pour modifier le style du titre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4214" y="4437064"/>
            <a:ext cx="5940425" cy="10795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200"/>
            </a:lvl1pPr>
          </a:lstStyle>
          <a:p>
            <a:pPr lvl="0"/>
            <a:r>
              <a:rPr lang="fr-CA" noProof="0" smtClean="0"/>
              <a:t>Cliquez pour modifier le style des sous-titres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061FF1-44CC-4908-BCF9-AF9278F05EA8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926389"/>
      </p:ext>
    </p:extLst>
  </p:cSld>
  <p:clrMapOvr>
    <a:masterClrMapping/>
  </p:clrMapOvr>
  <p:transition>
    <p:randomBar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74CF92-EA58-4C42-B7B8-B54401E3A776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089127"/>
      </p:ext>
    </p:extLst>
  </p:cSld>
  <p:clrMapOvr>
    <a:masterClrMapping/>
  </p:clrMapOvr>
  <p:transition>
    <p:randomBar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4" indent="0">
              <a:buNone/>
              <a:defRPr sz="1800"/>
            </a:lvl2pPr>
            <a:lvl3pPr marL="914306" indent="0">
              <a:buNone/>
              <a:defRPr sz="1600"/>
            </a:lvl3pPr>
            <a:lvl4pPr marL="1371460" indent="0">
              <a:buNone/>
              <a:defRPr sz="1400"/>
            </a:lvl4pPr>
            <a:lvl5pPr marL="1828613" indent="0">
              <a:buNone/>
              <a:defRPr sz="1400"/>
            </a:lvl5pPr>
            <a:lvl6pPr marL="2285766" indent="0">
              <a:buNone/>
              <a:defRPr sz="1400"/>
            </a:lvl6pPr>
            <a:lvl7pPr marL="2742920" indent="0">
              <a:buNone/>
              <a:defRPr sz="1400"/>
            </a:lvl7pPr>
            <a:lvl8pPr marL="3200072" indent="0">
              <a:buNone/>
              <a:defRPr sz="1400"/>
            </a:lvl8pPr>
            <a:lvl9pPr marL="3657226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2C2FE-ABB4-4014-A596-7FDA077ADAE0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994981"/>
      </p:ext>
    </p:extLst>
  </p:cSld>
  <p:clrMapOvr>
    <a:masterClrMapping/>
  </p:clrMapOvr>
  <p:transition>
    <p:randomBar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585915"/>
            <a:ext cx="4141788" cy="46878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51388" y="1585915"/>
            <a:ext cx="4141787" cy="46878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2A26F4-25FD-48BD-B8C3-8F1D0CFBE27E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428545"/>
      </p:ext>
    </p:extLst>
  </p:cSld>
  <p:clrMapOvr>
    <a:masterClrMapping/>
  </p:clrMapOvr>
  <p:transition>
    <p:randomBar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6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2" indent="0">
              <a:buNone/>
              <a:defRPr sz="1600" b="1"/>
            </a:lvl8pPr>
            <a:lvl9pPr marL="3657226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4" indent="0">
              <a:buNone/>
              <a:defRPr sz="2000" b="1"/>
            </a:lvl2pPr>
            <a:lvl3pPr marL="914306" indent="0">
              <a:buNone/>
              <a:defRPr sz="1800" b="1"/>
            </a:lvl3pPr>
            <a:lvl4pPr marL="1371460" indent="0">
              <a:buNone/>
              <a:defRPr sz="1600" b="1"/>
            </a:lvl4pPr>
            <a:lvl5pPr marL="1828613" indent="0">
              <a:buNone/>
              <a:defRPr sz="1600" b="1"/>
            </a:lvl5pPr>
            <a:lvl6pPr marL="2285766" indent="0">
              <a:buNone/>
              <a:defRPr sz="1600" b="1"/>
            </a:lvl6pPr>
            <a:lvl7pPr marL="2742920" indent="0">
              <a:buNone/>
              <a:defRPr sz="1600" b="1"/>
            </a:lvl7pPr>
            <a:lvl8pPr marL="3200072" indent="0">
              <a:buNone/>
              <a:defRPr sz="1600" b="1"/>
            </a:lvl8pPr>
            <a:lvl9pPr marL="3657226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A698DD-9A15-46DE-BD1B-AA39BE74BF2B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009574"/>
      </p:ext>
    </p:extLst>
  </p:cSld>
  <p:clrMapOvr>
    <a:masterClrMapping/>
  </p:clrMapOvr>
  <p:transition>
    <p:randomBar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207279-1CF2-46B8-8B95-92413A5BF359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171291"/>
      </p:ext>
    </p:extLst>
  </p:cSld>
  <p:clrMapOvr>
    <a:masterClrMapping/>
  </p:clrMapOvr>
  <p:transition>
    <p:randomBar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3C7EFA-5002-4FA5-91C9-B384CFEB49D2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661345"/>
      </p:ext>
    </p:extLst>
  </p:cSld>
  <p:clrMapOvr>
    <a:masterClrMapping/>
  </p:clrMapOvr>
  <p:transition>
    <p:randomBar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3" indent="0">
              <a:buNone/>
              <a:defRPr sz="900"/>
            </a:lvl5pPr>
            <a:lvl6pPr marL="2285766" indent="0">
              <a:buNone/>
              <a:defRPr sz="900"/>
            </a:lvl6pPr>
            <a:lvl7pPr marL="2742920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5A6507-663A-4D76-BFC6-1821FDD289A5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240548"/>
      </p:ext>
    </p:extLst>
  </p:cSld>
  <p:clrMapOvr>
    <a:masterClrMapping/>
  </p:clrMapOvr>
  <p:transition>
    <p:randomBar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6" indent="0">
              <a:buNone/>
              <a:defRPr sz="2400"/>
            </a:lvl3pPr>
            <a:lvl4pPr marL="1371460" indent="0">
              <a:buNone/>
              <a:defRPr sz="2000"/>
            </a:lvl4pPr>
            <a:lvl5pPr marL="1828613" indent="0">
              <a:buNone/>
              <a:defRPr sz="2000"/>
            </a:lvl5pPr>
            <a:lvl6pPr marL="2285766" indent="0">
              <a:buNone/>
              <a:defRPr sz="2000"/>
            </a:lvl6pPr>
            <a:lvl7pPr marL="2742920" indent="0">
              <a:buNone/>
              <a:defRPr sz="2000"/>
            </a:lvl7pPr>
            <a:lvl8pPr marL="3200072" indent="0">
              <a:buNone/>
              <a:defRPr sz="2000"/>
            </a:lvl8pPr>
            <a:lvl9pPr marL="3657226" indent="0">
              <a:buNone/>
              <a:defRPr sz="2000"/>
            </a:lvl9pPr>
          </a:lstStyle>
          <a:p>
            <a:pPr lvl="0"/>
            <a:endParaRPr lang="fr-CA" noProof="0" dirty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4" indent="0">
              <a:buNone/>
              <a:defRPr sz="1200"/>
            </a:lvl2pPr>
            <a:lvl3pPr marL="914306" indent="0">
              <a:buNone/>
              <a:defRPr sz="1000"/>
            </a:lvl3pPr>
            <a:lvl4pPr marL="1371460" indent="0">
              <a:buNone/>
              <a:defRPr sz="900"/>
            </a:lvl4pPr>
            <a:lvl5pPr marL="1828613" indent="0">
              <a:buNone/>
              <a:defRPr sz="900"/>
            </a:lvl5pPr>
            <a:lvl6pPr marL="2285766" indent="0">
              <a:buNone/>
              <a:defRPr sz="900"/>
            </a:lvl6pPr>
            <a:lvl7pPr marL="2742920" indent="0">
              <a:buNone/>
              <a:defRPr sz="900"/>
            </a:lvl7pPr>
            <a:lvl8pPr marL="3200072" indent="0">
              <a:buNone/>
              <a:defRPr sz="900"/>
            </a:lvl8pPr>
            <a:lvl9pPr marL="3657226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347F7-49C0-4BB3-90BC-06DAB0BDBB38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499969"/>
      </p:ext>
    </p:extLst>
  </p:cSld>
  <p:clrMapOvr>
    <a:masterClrMapping/>
  </p:clrMapOvr>
  <p:transition>
    <p:randomBar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34713D-10A4-483F-BF9A-159FC4412E10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385183"/>
      </p:ext>
    </p:extLst>
  </p:cSld>
  <p:clrMapOvr>
    <a:masterClrMapping/>
  </p:clrMapOvr>
  <p:transition>
    <p:randomBar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position personnalisé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>
              <a:defRPr lang="fr-CA" smtClean="0"/>
            </a:lvl1pPr>
          </a:lstStyle>
          <a:p>
            <a:fld id="{77F59921-B11C-4899-8BBE-5971739B1201}" type="slidenum">
              <a:rPr lang="fr-CA" smtClean="0"/>
              <a:pPr/>
              <a:t>‹N°›</a:t>
            </a:fld>
            <a:endParaRPr lang="fr-CA" dirty="0"/>
          </a:p>
        </p:txBody>
      </p:sp>
      <p:sp>
        <p:nvSpPr>
          <p:cNvPr id="4" name="Espace réservé du contenu 2"/>
          <p:cNvSpPr>
            <a:spLocks noGrp="1"/>
          </p:cNvSpPr>
          <p:nvPr>
            <p:ph idx="1"/>
          </p:nvPr>
        </p:nvSpPr>
        <p:spPr>
          <a:xfrm>
            <a:off x="1519744" y="1396577"/>
            <a:ext cx="7412037" cy="50324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CA" dirty="0"/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1479550" y="277814"/>
            <a:ext cx="7412038" cy="89437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b" anchorCtr="0" compatLnSpc="1">
            <a:prstTxWarp prst="textNoShape">
              <a:avLst/>
            </a:prstTxWarp>
          </a:bodyPr>
          <a:lstStyle>
            <a:lvl1pPr>
              <a:defRPr lang="fr-CA" b="0" dirty="0"/>
            </a:lvl1pPr>
          </a:lstStyle>
          <a:p>
            <a:pPr lvl="0"/>
            <a:r>
              <a:rPr lang="fr-FR" dirty="0" smtClean="0"/>
              <a:t>Modifiez le style du titre</a:t>
            </a:r>
            <a:endParaRPr lang="fr-CA" dirty="0"/>
          </a:p>
        </p:txBody>
      </p:sp>
      <p:pic>
        <p:nvPicPr>
          <p:cNvPr id="56322" name="Picture 2" descr="https://www.desjardins.com/ressources/images/d15-logo-desjardins-san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1" y="6492949"/>
            <a:ext cx="1182141" cy="24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942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784975" y="260350"/>
            <a:ext cx="2108200" cy="60134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60350"/>
            <a:ext cx="6175375" cy="60134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D1FE7A-2147-4049-9713-E3FE731DF2F1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853395"/>
      </p:ext>
    </p:extLst>
  </p:cSld>
  <p:clrMapOvr>
    <a:masterClrMapping/>
  </p:clrMapOvr>
  <p:transition>
    <p:randomBar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5356" y="1508400"/>
            <a:ext cx="8275203" cy="4615200"/>
          </a:xfrm>
        </p:spPr>
        <p:txBody>
          <a:bodyPr/>
          <a:lstStyle/>
          <a:p>
            <a:pPr lvl="0"/>
            <a:r>
              <a:rPr lang="fr-CA" smtClean="0"/>
              <a:t>Click to edit Master text styles</a:t>
            </a:r>
          </a:p>
          <a:p>
            <a:pPr lvl="1"/>
            <a:r>
              <a:rPr lang="fr-CA" smtClean="0"/>
              <a:t>Second level</a:t>
            </a:r>
          </a:p>
          <a:p>
            <a:pPr lvl="2"/>
            <a:r>
              <a:rPr lang="fr-CA" smtClean="0"/>
              <a:t>Third level</a:t>
            </a:r>
          </a:p>
          <a:p>
            <a:pPr lvl="3"/>
            <a:r>
              <a:rPr lang="fr-CA" smtClean="0"/>
              <a:t>Fourth level</a:t>
            </a:r>
          </a:p>
          <a:p>
            <a:pPr lvl="4"/>
            <a:r>
              <a:rPr lang="fr-CA" smtClean="0"/>
              <a:t>Fifth level</a:t>
            </a:r>
            <a:endParaRPr lang="fr-C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2974F6-2828-4CE0-B3BF-3485EEF8876C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1759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782050" y="6591300"/>
            <a:ext cx="246063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F5C423F-E0A3-4666-AD42-0D00483BA435}" type="slidenum">
              <a:rPr lang="en-US" smtClean="0">
                <a:solidFill>
                  <a:srgbClr val="777777"/>
                </a:solidFill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17921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4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McK Title Elements" hidden="1"/>
          <p:cNvGrpSpPr>
            <a:grpSpLocks/>
          </p:cNvGrpSpPr>
          <p:nvPr userDrawn="1"/>
        </p:nvGrpSpPr>
        <p:grpSpPr bwMode="auto">
          <a:xfrm>
            <a:off x="900113" y="5459413"/>
            <a:ext cx="4246562" cy="495300"/>
            <a:chOff x="1663" y="3106"/>
            <a:chExt cx="3109" cy="305"/>
          </a:xfrm>
        </p:grpSpPr>
        <p:sp>
          <p:nvSpPr>
            <p:cNvPr id="7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CA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  <a:endParaRPr lang="fr-CA" sz="14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McK Date"/>
            <p:cNvSpPr txBox="1">
              <a:spLocks noChangeArrowheads="1"/>
            </p:cNvSpPr>
            <p:nvPr/>
          </p:nvSpPr>
          <p:spPr bwMode="auto">
            <a:xfrm>
              <a:off x="1663" y="3278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CA" sz="1400" smtClean="0">
                  <a:solidFill>
                    <a:srgbClr val="000000"/>
                  </a:solidFill>
                  <a:latin typeface="Arial"/>
                </a:rPr>
                <a:t>Date</a:t>
              </a:r>
              <a:endParaRPr lang="fr-CA" sz="1400" dirty="0" smtClean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9" name="Connecteur droit 73"/>
          <p:cNvCxnSpPr>
            <a:cxnSpLocks noChangeShapeType="1"/>
          </p:cNvCxnSpPr>
          <p:nvPr userDrawn="1"/>
        </p:nvCxnSpPr>
        <p:spPr bwMode="auto">
          <a:xfrm>
            <a:off x="900113" y="1928813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" name="Connecteur droit 18"/>
          <p:cNvCxnSpPr>
            <a:cxnSpLocks noChangeShapeType="1"/>
          </p:cNvCxnSpPr>
          <p:nvPr userDrawn="1"/>
        </p:nvCxnSpPr>
        <p:spPr bwMode="auto">
          <a:xfrm>
            <a:off x="900113" y="4535488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doc id"/>
          <p:cNvSpPr>
            <a:spLocks noChangeArrowheads="1"/>
          </p:cNvSpPr>
          <p:nvPr userDrawn="1"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</a:endParaRPr>
          </a:p>
        </p:txBody>
      </p:sp>
      <p:sp>
        <p:nvSpPr>
          <p:cNvPr id="12" name="ZoneTexte 76"/>
          <p:cNvSpPr txBox="1">
            <a:spLocks noChangeArrowheads="1"/>
          </p:cNvSpPr>
          <p:nvPr userDrawn="1"/>
        </p:nvSpPr>
        <p:spPr bwMode="auto">
          <a:xfrm>
            <a:off x="8545513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5043763D-EC65-4FC9-B34E-6FBB18FFE082}" type="slidenum">
              <a:rPr lang="fr-FR" altLang="fr-FR" sz="1000" smtClean="0">
                <a:solidFill>
                  <a:srgbClr val="000000"/>
                </a:solidFill>
              </a:rPr>
              <a:pPr eaLnBrk="1" hangingPunct="1">
                <a:defRPr/>
              </a:pPr>
              <a:t>‹N°›</a:t>
            </a:fld>
            <a:endParaRPr lang="fr-FR" altLang="fr-FR" sz="1000" smtClean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900797" y="2978635"/>
            <a:ext cx="7570143" cy="507831"/>
          </a:xfrm>
          <a:prstGeom prst="rect">
            <a:avLst/>
          </a:prstGeom>
        </p:spPr>
        <p:txBody>
          <a:bodyPr anchor="b"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CA" noProof="0" smtClean="0"/>
              <a:t>Modifiez le style du titre</a:t>
            </a:r>
            <a:endParaRPr lang="fr-CA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900797" y="3532912"/>
            <a:ext cx="7570143" cy="281327"/>
          </a:xfrm>
        </p:spPr>
        <p:txBody>
          <a:bodyPr/>
          <a:lstStyle>
            <a:lvl1pPr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fr-CA" noProof="0" smtClean="0"/>
              <a:t>Modifiez le style des sous-titres du masque</a:t>
            </a:r>
            <a:endParaRPr lang="fr-CA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197437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8" name="Diapositive think-cell" r:id="rId22" imgW="360" imgH="360" progId="TCLayout.ActiveDocument.1">
                  <p:embed/>
                </p:oleObj>
              </mc:Choice>
              <mc:Fallback>
                <p:oleObj name="Diapositive think-cell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fr-CA" altLang="fr-FR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CA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fr-CA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CA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fr-CA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fr-CA" altLang="fr-FR" sz="16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2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8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2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0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2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3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1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4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6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cxnSp>
        <p:nvCxnSpPr>
          <p:cNvPr id="56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7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03ED60E2-AA86-45DC-ABEA-4DF5678CE5C1}" type="slidenum">
              <a:rPr lang="fr-CA" smtClean="0">
                <a:solidFill>
                  <a:srgbClr val="777777"/>
                </a:solidFill>
              </a:rPr>
              <a:pPr algn="r">
                <a:defRPr/>
              </a:pPr>
              <a:t>‹N°›</a:t>
            </a:fld>
            <a:endParaRPr lang="fr-CA" dirty="0">
              <a:solidFill>
                <a:srgbClr val="777777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CA" smtClean="0"/>
              <a:t>Modifiez le style du titre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4531416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0" name="Diapositive think-cell" r:id="rId23" imgW="360" imgH="360" progId="TCLayout.ActiveDocument.1">
                  <p:embed/>
                </p:oleObj>
              </mc:Choice>
              <mc:Fallback>
                <p:oleObj name="Diapositive think-cell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fr-CA" altLang="fr-FR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CA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fr-CA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CA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fr-CA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fr-CA" altLang="fr-FR" sz="16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2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8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2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0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2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3" name="Oval 90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Arc 91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1" name="MoonLegend1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2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3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4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6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cxnSp>
        <p:nvCxnSpPr>
          <p:cNvPr id="56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7" name="Image 8" descr="LOGO_COOP_PMS.jpg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8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1" name="Diapositive think-cell" r:id="rId26" imgW="360" imgH="360" progId="TCLayout.ActiveDocument.1">
                  <p:embed/>
                </p:oleObj>
              </mc:Choice>
              <mc:Fallback>
                <p:oleObj name="Diapositive think-cell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Rectangle 9"/>
          <p:cNvSpPr txBox="1">
            <a:spLocks noChangeArrowheads="1"/>
          </p:cNvSpPr>
          <p:nvPr userDrawn="1"/>
        </p:nvSpPr>
        <p:spPr bwMode="auto">
          <a:xfrm>
            <a:off x="8777288" y="6584950"/>
            <a:ext cx="2508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1100" b="0" kern="1200" smtClean="0">
                <a:solidFill>
                  <a:srgbClr val="777777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1pPr>
            <a:lvl2pPr marL="321457" algn="l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2pPr>
            <a:lvl3pPr marL="642915" algn="l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3pPr>
            <a:lvl4pPr marL="964372" algn="l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4pPr>
            <a:lvl5pPr marL="1285829" algn="l" rtl="0" fontAlgn="base">
              <a:spcBef>
                <a:spcPct val="0"/>
              </a:spcBef>
              <a:spcAft>
                <a:spcPct val="0"/>
              </a:spcAft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5pPr>
            <a:lvl6pPr marL="1607287" algn="l" defTabSz="642915" rtl="0" eaLnBrk="1" latinLnBrk="0" hangingPunct="1"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6pPr>
            <a:lvl7pPr marL="1928744" algn="l" defTabSz="642915" rtl="0" eaLnBrk="1" latinLnBrk="0" hangingPunct="1"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7pPr>
            <a:lvl8pPr marL="2250201" algn="l" defTabSz="642915" rtl="0" eaLnBrk="1" latinLnBrk="0" hangingPunct="1"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8pPr>
            <a:lvl9pPr marL="2571659" algn="l" defTabSz="642915" rtl="0" eaLnBrk="1" latinLnBrk="0" hangingPunct="1">
              <a:defRPr sz="2100" kern="1200">
                <a:solidFill>
                  <a:srgbClr val="000000"/>
                </a:solidFill>
                <a:latin typeface="Arial" pitchFamily="34" charset="0"/>
                <a:ea typeface="+mn-ea"/>
                <a:cs typeface="+mn-cs"/>
                <a:sym typeface="Arial" pitchFamily="34" charset="0"/>
              </a:defRPr>
            </a:lvl9pPr>
          </a:lstStyle>
          <a:p>
            <a:pPr>
              <a:defRPr/>
            </a:pPr>
            <a:fld id="{B2B1EDBD-0721-40AF-84EF-84EF54507A06}" type="slidenum">
              <a:rPr lang="fr-CA"/>
              <a:pPr>
                <a:defRPr/>
              </a:pPr>
              <a:t>‹N°›</a:t>
            </a:fld>
            <a:endParaRPr lang="fr-CA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00"/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24165297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6" name="Diapositive think-cell" r:id="rId22" imgW="360" imgH="360" progId="TCLayout.ActiveDocument.1">
                  <p:embed/>
                </p:oleObj>
              </mc:Choice>
              <mc:Fallback>
                <p:oleObj name="Diapositive think-cell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fr-CA" altLang="fr-FR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CA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fr-CA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CA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fr-CA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fr-CA" altLang="fr-FR" sz="16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2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8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2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0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2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3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1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4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6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cxnSp>
        <p:nvCxnSpPr>
          <p:cNvPr id="56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7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C81E8C8B-3E7A-4F58-A1F7-0B056F377789}" type="slidenum">
              <a:rPr lang="fr-FR" smtClean="0">
                <a:solidFill>
                  <a:srgbClr val="777777"/>
                </a:solidFill>
              </a:rPr>
              <a:pPr algn="r">
                <a:defRPr/>
              </a:pPr>
              <a:t>‹N°›</a:t>
            </a:fld>
            <a:endParaRPr lang="fr-FR" dirty="0">
              <a:solidFill>
                <a:srgbClr val="777777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FR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91028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00" name="Diapositive think-cell" r:id="rId22" imgW="360" imgH="360" progId="TCLayout.ActiveDocument.1">
                  <p:embed/>
                </p:oleObj>
              </mc:Choice>
              <mc:Fallback>
                <p:oleObj name="Diapositive think-cell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fr-CA" altLang="fr-FR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CA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fr-CA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6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7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CA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fr-CA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8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fr-CA" altLang="fr-FR" sz="16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2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8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29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0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2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3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1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2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3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48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9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6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7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cxnSp>
        <p:nvCxnSpPr>
          <p:cNvPr id="56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7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3E25F4C6-C8CC-4C05-888A-1C1BEC2DB491}" type="slidenum">
              <a:rPr lang="en-US" smtClean="0">
                <a:solidFill>
                  <a:srgbClr val="777777"/>
                </a:solidFill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2868793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900113" y="349250"/>
            <a:ext cx="1014412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charset="0"/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900113" y="508000"/>
            <a:ext cx="2881312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charset="0"/>
              </a:rPr>
              <a:t>Last Modified 13/01/2015 17:03 Easter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900113" y="668338"/>
            <a:ext cx="3071812" cy="141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charset="0"/>
              </a:rPr>
              <a:t>Printed 09/01/2015 07:39 Central Europea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charset="0"/>
            </a:endParaRPr>
          </a:p>
        </p:txBody>
      </p:sp>
      <p:grpSp>
        <p:nvGrpSpPr>
          <p:cNvPr id="9" name="McK Title Elements" hidden="1"/>
          <p:cNvGrpSpPr>
            <a:grpSpLocks/>
          </p:cNvGrpSpPr>
          <p:nvPr userDrawn="1"/>
        </p:nvGrpSpPr>
        <p:grpSpPr bwMode="auto">
          <a:xfrm>
            <a:off x="900113" y="5459413"/>
            <a:ext cx="4246562" cy="495300"/>
            <a:chOff x="1663" y="3106"/>
            <a:chExt cx="3109" cy="305"/>
          </a:xfrm>
        </p:grpSpPr>
        <p:sp>
          <p:nvSpPr>
            <p:cNvPr id="10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Document type</a:t>
              </a:r>
            </a:p>
          </p:txBody>
        </p:sp>
        <p:sp>
          <p:nvSpPr>
            <p:cNvPr id="11" name="McK Date"/>
            <p:cNvSpPr txBox="1">
              <a:spLocks noChangeArrowheads="1"/>
            </p:cNvSpPr>
            <p:nvPr/>
          </p:nvSpPr>
          <p:spPr bwMode="auto">
            <a:xfrm>
              <a:off x="1663" y="3278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Date</a:t>
              </a:r>
            </a:p>
          </p:txBody>
        </p:sp>
      </p:grpSp>
      <p:cxnSp>
        <p:nvCxnSpPr>
          <p:cNvPr id="12" name="Connecteur droit 77"/>
          <p:cNvCxnSpPr>
            <a:cxnSpLocks noChangeShapeType="1"/>
          </p:cNvCxnSpPr>
          <p:nvPr userDrawn="1"/>
        </p:nvCxnSpPr>
        <p:spPr bwMode="auto">
          <a:xfrm>
            <a:off x="900113" y="1928813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Connecteur droit 18"/>
          <p:cNvCxnSpPr>
            <a:cxnSpLocks noChangeShapeType="1"/>
          </p:cNvCxnSpPr>
          <p:nvPr userDrawn="1"/>
        </p:nvCxnSpPr>
        <p:spPr bwMode="auto">
          <a:xfrm>
            <a:off x="900113" y="4535488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doc id"/>
          <p:cNvSpPr>
            <a:spLocks noChangeArrowheads="1"/>
          </p:cNvSpPr>
          <p:nvPr userDrawn="1"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900797" y="2978638"/>
            <a:ext cx="7570143" cy="507831"/>
          </a:xfrm>
          <a:prstGeom prst="rect">
            <a:avLst/>
          </a:prstGeom>
        </p:spPr>
        <p:txBody>
          <a:bodyPr anchor="b"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900797" y="3532912"/>
            <a:ext cx="7570143" cy="281327"/>
          </a:xfrm>
        </p:spPr>
        <p:txBody>
          <a:bodyPr/>
          <a:lstStyle>
            <a:lvl1pPr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239084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2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4032" y="2240756"/>
            <a:ext cx="18970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531" y="4458494"/>
            <a:ext cx="20240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600" b="1" smtClean="0">
                  <a:solidFill>
                    <a:srgbClr val="000000"/>
                  </a:solidFill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z="1600" smtClean="0">
                  <a:solidFill>
                    <a:srgbClr val="808080"/>
                  </a:solidFill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775B6B3-00A5-42AA-935C-FE2F643FAE72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740569D4-EDE0-4E35-8250-8F92803DA4C4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4695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re et contenu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79550" y="274337"/>
            <a:ext cx="7412038" cy="89693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b" anchorCtr="0" compatLnSpc="1">
            <a:prstTxWarp prst="textNoShape">
              <a:avLst/>
            </a:prstTxWarp>
          </a:bodyPr>
          <a:lstStyle>
            <a:lvl1pPr>
              <a:defRPr lang="fr-CA" dirty="0"/>
            </a:lvl1pPr>
          </a:lstStyle>
          <a:p>
            <a:pPr lvl="0"/>
            <a:r>
              <a:rPr lang="fr-FR" dirty="0" smtClean="0"/>
              <a:t>Modifiez le style du titre</a:t>
            </a:r>
            <a:endParaRPr lang="fr-CA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>
              <a:defRPr lang="fr-CA" smtClean="0"/>
            </a:lvl1pPr>
          </a:lstStyle>
          <a:p>
            <a:fld id="{24DF1B41-ABEB-4A67-B4D1-BC7D9D2171FA}" type="slidenum">
              <a:rPr lang="fr-CA" smtClean="0"/>
              <a:pPr/>
              <a:t>‹N°›</a:t>
            </a:fld>
            <a:endParaRPr lang="fr-CA" dirty="0"/>
          </a:p>
        </p:txBody>
      </p:sp>
      <p:pic>
        <p:nvPicPr>
          <p:cNvPr id="6" name="Picture 2" descr="https://www.desjardins.com/ressources/images/d15-logo-desjardins-san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1" y="6492949"/>
            <a:ext cx="1182141" cy="24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383700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96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4032" y="2240756"/>
            <a:ext cx="18970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531" y="4458494"/>
            <a:ext cx="20240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600" b="1" smtClean="0">
                  <a:solidFill>
                    <a:srgbClr val="000000"/>
                  </a:solidFill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z="1600" smtClean="0">
                  <a:solidFill>
                    <a:srgbClr val="808080"/>
                  </a:solidFill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84215DFE-2D4E-4CC5-8375-AFDAE892074A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B44886B3-7C9E-428A-BA14-6E1CAEDFD02D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16882446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8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4032" y="2240756"/>
            <a:ext cx="18970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531" y="4458494"/>
            <a:ext cx="20240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600" b="1" smtClean="0">
                  <a:solidFill>
                    <a:srgbClr val="000000"/>
                  </a:solidFill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z="1600" smtClean="0">
                  <a:solidFill>
                    <a:srgbClr val="808080"/>
                  </a:solidFill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8FD5B621-F0CF-4960-9E3C-047CD0C210A7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graphicFrame>
        <p:nvGraphicFramePr>
          <p:cNvPr id="62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59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7C0AB8CD-0E14-4D2E-A7F6-29BF9AED64F3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64" name="TextBox 2"/>
          <p:cNvSpPr txBox="1">
            <a:spLocks noChangeArrowheads="1"/>
          </p:cNvSpPr>
          <p:nvPr userDrawn="1"/>
        </p:nvSpPr>
        <p:spPr bwMode="auto">
          <a:xfrm>
            <a:off x="8545513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0EA3C36A-47E6-424E-A4C8-A93506C91E8A}" type="slidenum">
              <a:rPr lang="fr-FR" altLang="fr-FR" sz="1000" smtClean="0">
                <a:solidFill>
                  <a:srgbClr val="000000"/>
                </a:solidFill>
                <a:sym typeface="Arial" pitchFamily="34" charset="0"/>
              </a:rPr>
              <a:pPr eaLnBrk="1" hangingPunct="1">
                <a:defRPr/>
              </a:pPr>
              <a:t>‹N°›</a:t>
            </a:fld>
            <a:endParaRPr lang="fr-FR" altLang="fr-FR" sz="10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65" name="TextBox 3"/>
          <p:cNvSpPr txBox="1">
            <a:spLocks noChangeArrowheads="1"/>
          </p:cNvSpPr>
          <p:nvPr userDrawn="1"/>
        </p:nvSpPr>
        <p:spPr bwMode="auto">
          <a:xfrm>
            <a:off x="8545513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363CFE77-C414-47E5-BC04-0B537DE868DD}" type="slidenum">
              <a:rPr lang="en-US" altLang="fr-FR" sz="1000" smtClean="0">
                <a:solidFill>
                  <a:srgbClr val="000000"/>
                </a:solidFill>
                <a:sym typeface="Arial" pitchFamily="34" charset="0"/>
              </a:rPr>
              <a:pPr eaLnBrk="1" hangingPunct="1">
                <a:defRPr/>
              </a:pPr>
              <a:t>‹N°›</a:t>
            </a:fld>
            <a:endParaRPr lang="en-US" altLang="fr-FR" sz="10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00"/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457737597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4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8124032" y="2240756"/>
            <a:ext cx="18970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60531" y="4458494"/>
            <a:ext cx="20240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sym typeface="Arial" pitchFamily="34" charset="0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charset="0"/>
              </a:rPr>
              <a:t>Unit of measure</a:t>
            </a:r>
          </a:p>
        </p:txBody>
      </p:sp>
      <p:grpSp>
        <p:nvGrpSpPr>
          <p:cNvPr id="10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1 Footnote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600" b="1" smtClean="0">
                  <a:solidFill>
                    <a:srgbClr val="000000"/>
                  </a:solidFill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z="1600" smtClean="0">
                  <a:solidFill>
                    <a:srgbClr val="808080"/>
                  </a:solidFill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7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8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</p:grpSp>
      <p:grpSp>
        <p:nvGrpSpPr>
          <p:cNvPr id="39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5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</p:grpSp>
      <p:cxnSp>
        <p:nvCxnSpPr>
          <p:cNvPr id="60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3CA9B5B9-7227-4176-B80C-0442DD0981B4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F1461DC4-D227-4A32-8C6A-4C7479E6916A}" type="slidenum">
              <a:rPr lang="fr-CA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fr-CA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lick to </a:t>
            </a:r>
            <a:r>
              <a:rPr lang="fr-CA" dirty="0" err="1" smtClean="0"/>
              <a:t>edit</a:t>
            </a:r>
            <a:r>
              <a:rPr lang="fr-CA" dirty="0" smtClean="0"/>
              <a:t> Master </a:t>
            </a:r>
            <a:r>
              <a:rPr lang="fr-CA" dirty="0" err="1" smtClean="0"/>
              <a:t>title</a:t>
            </a:r>
            <a:r>
              <a:rPr lang="fr-CA" dirty="0" smtClean="0"/>
              <a:t> style</a:t>
            </a:r>
            <a:endParaRPr lang="fr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2508989"/>
            <a:ext cx="4389768" cy="1244331"/>
          </a:xfrm>
        </p:spPr>
        <p:txBody>
          <a:bodyPr/>
          <a:lstStyle/>
          <a:p>
            <a:pPr lvl="0"/>
            <a:r>
              <a:rPr lang="fr-CA" dirty="0" smtClean="0"/>
              <a:t>Click to </a:t>
            </a:r>
            <a:r>
              <a:rPr lang="fr-CA" dirty="0" err="1" smtClean="0"/>
              <a:t>edit</a:t>
            </a:r>
            <a:r>
              <a:rPr lang="fr-CA" dirty="0" smtClean="0"/>
              <a:t> Master </a:t>
            </a:r>
            <a:r>
              <a:rPr lang="fr-CA" dirty="0" err="1" smtClean="0"/>
              <a:t>text</a:t>
            </a:r>
            <a:r>
              <a:rPr lang="fr-CA" dirty="0" smtClean="0"/>
              <a:t> styles</a:t>
            </a:r>
          </a:p>
          <a:p>
            <a:pPr lvl="1"/>
            <a:r>
              <a:rPr lang="fr-CA" dirty="0" smtClean="0"/>
              <a:t>Second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2"/>
            <a:r>
              <a:rPr lang="fr-CA" dirty="0" err="1" smtClean="0"/>
              <a:t>Third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3"/>
            <a:r>
              <a:rPr lang="fr-CA" dirty="0" err="1" smtClean="0"/>
              <a:t>Fourth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4"/>
            <a:r>
              <a:rPr lang="fr-CA" dirty="0" err="1" smtClean="0"/>
              <a:t>Fifth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9394286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8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4032" y="2240756"/>
            <a:ext cx="18970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531" y="4458494"/>
            <a:ext cx="20240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600" b="1" smtClean="0">
                  <a:solidFill>
                    <a:srgbClr val="000000"/>
                  </a:solidFill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z="1600" smtClean="0">
                  <a:solidFill>
                    <a:srgbClr val="808080"/>
                  </a:solidFill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96743C08-30D0-4CB4-9CD7-098D7EB0997D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FA9CBFEC-CCC2-48F7-A47A-12AD6CC53CEE}" type="slidenum">
              <a:rPr lang="fr-BE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fr-BE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BE" smtClean="0"/>
              <a:t>Modifiez le style du titre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1005270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92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8124032" y="2240756"/>
            <a:ext cx="18970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8060531" y="4458494"/>
            <a:ext cx="20240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sym typeface="Arial" pitchFamily="34" charset="0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charset="0"/>
              </a:rPr>
              <a:t>Unit of measure</a:t>
            </a:r>
          </a:p>
        </p:txBody>
      </p:sp>
      <p:grpSp>
        <p:nvGrpSpPr>
          <p:cNvPr id="10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1 Footnote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600" b="1" smtClean="0">
                  <a:solidFill>
                    <a:srgbClr val="000000"/>
                  </a:solidFill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z="1600" smtClean="0">
                  <a:solidFill>
                    <a:srgbClr val="808080"/>
                  </a:solidFill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7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8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</p:grpSp>
      <p:grpSp>
        <p:nvGrpSpPr>
          <p:cNvPr id="39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5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</p:grpSp>
      <p:cxnSp>
        <p:nvCxnSpPr>
          <p:cNvPr id="60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" name="Image 8" descr="LOGO_COOP_PMS.jpg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978EF74D-F581-4B50-B736-FD6AECA9C094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4" indent="0">
              <a:buNone/>
              <a:defRPr sz="1800"/>
            </a:lvl2pPr>
            <a:lvl3pPr marL="914306" indent="0">
              <a:buNone/>
              <a:defRPr sz="1600"/>
            </a:lvl3pPr>
            <a:lvl4pPr marL="1371460" indent="0">
              <a:buNone/>
              <a:defRPr sz="1400"/>
            </a:lvl4pPr>
            <a:lvl5pPr marL="1828613" indent="0">
              <a:buNone/>
              <a:defRPr sz="1400"/>
            </a:lvl5pPr>
            <a:lvl6pPr marL="2285766" indent="0">
              <a:buNone/>
              <a:defRPr sz="1400"/>
            </a:lvl6pPr>
            <a:lvl7pPr marL="2742920" indent="0">
              <a:buNone/>
              <a:defRPr sz="1400"/>
            </a:lvl7pPr>
            <a:lvl8pPr marL="3200072" indent="0">
              <a:buNone/>
              <a:defRPr sz="1400"/>
            </a:lvl8pPr>
            <a:lvl9pPr marL="3657226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61138"/>
            <a:ext cx="2133600" cy="296862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46B6BF62-31AC-43B8-BDE9-CF0F41353AED}" type="slidenum">
              <a:rPr lang="fr-CA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37460"/>
      </p:ext>
    </p:extLst>
  </p:cSld>
  <p:clrMapOvr>
    <a:masterClrMapping/>
  </p:clrMapOvr>
  <p:transition>
    <p:randomBar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 descr="CouvertF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Connecteur droit 18"/>
          <p:cNvCxnSpPr>
            <a:cxnSpLocks noChangeShapeType="1"/>
          </p:cNvCxnSpPr>
          <p:nvPr userDrawn="1"/>
        </p:nvCxnSpPr>
        <p:spPr bwMode="auto">
          <a:xfrm>
            <a:off x="900783" y="1928832"/>
            <a:ext cx="7528842" cy="1117"/>
          </a:xfrm>
          <a:prstGeom prst="line">
            <a:avLst/>
          </a:prstGeom>
          <a:noFill/>
          <a:ln w="22225">
            <a:solidFill>
              <a:srgbClr val="00A6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Connecteur droit 18"/>
          <p:cNvCxnSpPr>
            <a:cxnSpLocks noChangeShapeType="1"/>
          </p:cNvCxnSpPr>
          <p:nvPr userDrawn="1"/>
        </p:nvCxnSpPr>
        <p:spPr bwMode="auto">
          <a:xfrm>
            <a:off x="900783" y="4535166"/>
            <a:ext cx="7528842" cy="1116"/>
          </a:xfrm>
          <a:prstGeom prst="line">
            <a:avLst/>
          </a:prstGeom>
          <a:noFill/>
          <a:ln w="22225">
            <a:solidFill>
              <a:srgbClr val="00A66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Rectangle 16"/>
          <p:cNvSpPr>
            <a:spLocks noChangeArrowheads="1"/>
          </p:cNvSpPr>
          <p:nvPr/>
        </p:nvSpPr>
        <p:spPr bwMode="auto">
          <a:xfrm>
            <a:off x="2639839" y="6467326"/>
            <a:ext cx="3856508" cy="39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2109" rIns="64222" bIns="32109"/>
          <a:lstStyle>
            <a:lvl1pPr eaLnBrk="0" hangingPunct="0"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itchFamily="34" charset="0"/>
                <a:sym typeface="Arial" pitchFamily="34" charset="0"/>
              </a:defRPr>
            </a:lvl9pPr>
          </a:lstStyle>
          <a:p>
            <a:pPr algn="ctr">
              <a:defRPr/>
            </a:pPr>
            <a:endParaRPr lang="fr-CA" altLang="fr-FR" sz="1300" i="1" smtClean="0">
              <a:solidFill>
                <a:srgbClr val="9C9C9C"/>
              </a:solidFill>
              <a:ea typeface="Geneva" charset="0"/>
              <a:cs typeface="Geneva" charset="0"/>
            </a:endParaRPr>
          </a:p>
        </p:txBody>
      </p:sp>
      <p:sp>
        <p:nvSpPr>
          <p:cNvPr id="706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14761" y="1968590"/>
            <a:ext cx="6456164" cy="1444377"/>
          </a:xfrm>
        </p:spPr>
        <p:txBody>
          <a:bodyPr lIns="64225" tIns="32111" rIns="64225" bIns="32111" anchor="b"/>
          <a:lstStyle>
            <a:lvl1pPr marL="0" indent="0">
              <a:defRPr sz="2800" b="1"/>
            </a:lvl1pPr>
          </a:lstStyle>
          <a:p>
            <a:r>
              <a:rPr lang="fr-CA"/>
              <a:t>Cliquez pour modifier </a:t>
            </a:r>
            <a:br>
              <a:rPr lang="fr-CA"/>
            </a:br>
            <a:r>
              <a:rPr lang="fr-CA"/>
              <a:t>le style du titre</a:t>
            </a:r>
          </a:p>
        </p:txBody>
      </p:sp>
      <p:sp>
        <p:nvSpPr>
          <p:cNvPr id="7066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014761" y="3414083"/>
            <a:ext cx="6456164" cy="1086073"/>
          </a:xfrm>
        </p:spPr>
        <p:txBody>
          <a:bodyPr lIns="64225" tIns="32111" rIns="64225" bIns="32111"/>
          <a:lstStyle>
            <a:lvl1pPr marL="0" indent="0">
              <a:buFont typeface="Wingdings" pitchFamily="-108" charset="2"/>
              <a:buNone/>
              <a:defRPr sz="2000">
                <a:solidFill>
                  <a:schemeClr val="accent2"/>
                </a:solidFill>
              </a:defRPr>
            </a:lvl1pPr>
          </a:lstStyle>
          <a:p>
            <a:r>
              <a:rPr lang="fr-CA"/>
              <a:t>Cliquez pour modifier le style </a:t>
            </a:r>
            <a:br>
              <a:rPr lang="fr-CA"/>
            </a:br>
            <a:r>
              <a:rPr lang="fr-CA"/>
              <a:t>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212961878"/>
      </p:ext>
    </p:extLst>
  </p:cSld>
  <p:clrMapOvr>
    <a:masterClrMapping/>
  </p:clrMapOvr>
  <p:transition>
    <p:fade/>
  </p:transition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00783" y="377279"/>
            <a:ext cx="8003232" cy="855018"/>
          </a:xfrm>
          <a:prstGeom prst="rect">
            <a:avLst/>
          </a:prstGeom>
        </p:spPr>
        <p:txBody>
          <a:bodyPr lIns="64225" tIns="32111" rIns="64225" bIns="32111"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00783" y="1395264"/>
            <a:ext cx="7570143" cy="1399729"/>
          </a:xfrm>
          <a:prstGeom prst="rect">
            <a:avLst/>
          </a:prstGeom>
        </p:spPr>
        <p:txBody>
          <a:bodyPr lIns="64225" tIns="32111" rIns="64225" bIns="32111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900783" y="5982911"/>
            <a:ext cx="933152" cy="382861"/>
          </a:xfrm>
          <a:prstGeom prst="rect">
            <a:avLst/>
          </a:prstGeom>
        </p:spPr>
        <p:txBody>
          <a:bodyPr lIns="64225" tIns="32111" rIns="64225" bIns="32111"/>
          <a:lstStyle>
            <a:lvl1pPr eaLnBrk="1" hangingPunct="1">
              <a:defRPr/>
            </a:lvl1pPr>
          </a:lstStyle>
          <a:p>
            <a:pPr>
              <a:defRPr/>
            </a:pPr>
            <a:fld id="{0B00266A-ED36-4B4C-885C-70D4610370B4}" type="slidenum">
              <a:rPr lang="fr-CA" altLang="fr-FR" sz="2100">
                <a:solidFill>
                  <a:srgbClr val="000000"/>
                </a:solidFill>
                <a:latin typeface="Arial" pitchFamily="34" charset="0"/>
                <a:cs typeface="Arial" pitchFamily="34" charset="0"/>
                <a:sym typeface="Arial" pitchFamily="34" charset="0"/>
              </a:rPr>
              <a:pPr>
                <a:defRPr/>
              </a:pPr>
              <a:t>‹N°›</a:t>
            </a:fld>
            <a:endParaRPr lang="fr-CA" altLang="fr-FR" sz="2100" dirty="0">
              <a:solidFill>
                <a:srgbClr val="000000"/>
              </a:solidFill>
              <a:latin typeface="Arial" pitchFamily="34" charset="0"/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420657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891766"/>
              </p:ext>
            </p:extLst>
          </p:nvPr>
        </p:nvGraphicFramePr>
        <p:xfrm>
          <a:off x="1591" y="160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60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900797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900817" y="508601"/>
            <a:ext cx="2881213" cy="140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Last Modified 13/01/2015 17:03 Easter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900816" y="668958"/>
            <a:ext cx="3070567" cy="140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Printed 09/01/2015 07:39 Central Europea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900817" y="5460172"/>
            <a:ext cx="4245361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8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900797" y="2978653"/>
            <a:ext cx="7570143" cy="507831"/>
          </a:xfrm>
          <a:prstGeom prst="rect">
            <a:avLst/>
          </a:prstGeom>
        </p:spPr>
        <p:txBody>
          <a:bodyPr anchor="b"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900797" y="3532912"/>
            <a:ext cx="7570143" cy="281327"/>
          </a:xfrm>
        </p:spPr>
        <p:txBody>
          <a:bodyPr>
            <a:spAutoFit/>
          </a:bodyPr>
          <a:lstStyle>
            <a:lvl1pPr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cxnSp>
        <p:nvCxnSpPr>
          <p:cNvPr id="19" name="Connecteur droit 18"/>
          <p:cNvCxnSpPr>
            <a:cxnSpLocks noChangeShapeType="1"/>
          </p:cNvCxnSpPr>
          <p:nvPr userDrawn="1"/>
        </p:nvCxnSpPr>
        <p:spPr bwMode="auto">
          <a:xfrm>
            <a:off x="900797" y="1928834"/>
            <a:ext cx="7570143" cy="111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Connecteur droit 18"/>
          <p:cNvCxnSpPr>
            <a:cxnSpLocks noChangeShapeType="1"/>
          </p:cNvCxnSpPr>
          <p:nvPr userDrawn="1"/>
        </p:nvCxnSpPr>
        <p:spPr bwMode="auto">
          <a:xfrm>
            <a:off x="900797" y="4535167"/>
            <a:ext cx="7570143" cy="1116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35806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90"/>
            <a:endParaRPr lang="en-US" sz="800" dirty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9957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797851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6512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>
              <a:defRPr lang="fr-CA" smtClean="0"/>
            </a:lvl1pPr>
          </a:lstStyle>
          <a:p>
            <a:fld id="{24DF1B41-ABEB-4A67-B4D1-BC7D9D2171FA}" type="slidenum">
              <a:rPr lang="fr-CA" smtClean="0"/>
              <a:pPr/>
              <a:t>‹N°›</a:t>
            </a:fld>
            <a:endParaRPr lang="fr-CA" dirty="0"/>
          </a:p>
        </p:txBody>
      </p:sp>
      <p:pic>
        <p:nvPicPr>
          <p:cNvPr id="6" name="Picture 2" descr="https://www.desjardins.com/ressources/images/d15-logo-desjardins-sans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1" y="6492949"/>
            <a:ext cx="1182141" cy="244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7863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32835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8797851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631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300"/>
            </a:lvl1pPr>
          </a:lstStyle>
          <a:p>
            <a:r>
              <a:rPr lang="fr-FR" dirty="0" smtClean="0"/>
              <a:t>Modifiez le style du titre</a:t>
            </a:r>
            <a:endParaRPr lang="fr-CA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8797851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848DA75-2743-4AF4-93F2-E11E25C87F0C}" type="slidenum">
              <a:rPr lang="fr-FR" sz="1000" smtClean="0">
                <a:solidFill>
                  <a:srgbClr val="000000"/>
                </a:solidFill>
                <a:sym typeface="Arial" pitchFamily="34" charset="0"/>
              </a:rPr>
              <a:pPr/>
              <a:t>‹N°›</a:t>
            </a:fld>
            <a:endParaRPr lang="fr-FR" sz="10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0B04E0C-496C-4B1C-A8C9-CB63B548524C}" type="slidenum">
              <a:rPr lang="en-US" sz="1000" smtClean="0">
                <a:solidFill>
                  <a:srgbClr val="000000"/>
                </a:solidFill>
                <a:sym typeface="Arial" pitchFamily="34" charset="0"/>
              </a:rPr>
              <a:pPr/>
              <a:t>‹N°›</a:t>
            </a:fld>
            <a:endParaRPr lang="en-US" sz="1000">
              <a:solidFill>
                <a:srgbClr val="000000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35434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lick to </a:t>
            </a:r>
            <a:r>
              <a:rPr lang="fr-CA" dirty="0" err="1" smtClean="0"/>
              <a:t>edit</a:t>
            </a:r>
            <a:r>
              <a:rPr lang="fr-CA" dirty="0" smtClean="0"/>
              <a:t> Master </a:t>
            </a:r>
            <a:r>
              <a:rPr lang="fr-CA" dirty="0" err="1" smtClean="0"/>
              <a:t>title</a:t>
            </a:r>
            <a:r>
              <a:rPr lang="fr-CA" dirty="0" smtClean="0"/>
              <a:t> style</a:t>
            </a:r>
            <a:endParaRPr lang="fr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2509004"/>
            <a:ext cx="4389768" cy="1244331"/>
          </a:xfrm>
        </p:spPr>
        <p:txBody>
          <a:bodyPr/>
          <a:lstStyle/>
          <a:p>
            <a:pPr lvl="0"/>
            <a:r>
              <a:rPr lang="fr-CA" dirty="0" smtClean="0"/>
              <a:t>Click to </a:t>
            </a:r>
            <a:r>
              <a:rPr lang="fr-CA" dirty="0" err="1" smtClean="0"/>
              <a:t>edit</a:t>
            </a:r>
            <a:r>
              <a:rPr lang="fr-CA" dirty="0" smtClean="0"/>
              <a:t> Master </a:t>
            </a:r>
            <a:r>
              <a:rPr lang="fr-CA" dirty="0" err="1" smtClean="0"/>
              <a:t>text</a:t>
            </a:r>
            <a:r>
              <a:rPr lang="fr-CA" dirty="0" smtClean="0"/>
              <a:t> styles</a:t>
            </a:r>
          </a:p>
          <a:p>
            <a:pPr lvl="1"/>
            <a:r>
              <a:rPr lang="fr-CA" dirty="0" smtClean="0"/>
              <a:t>Second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2"/>
            <a:r>
              <a:rPr lang="fr-CA" dirty="0" err="1" smtClean="0"/>
              <a:t>Third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3"/>
            <a:r>
              <a:rPr lang="fr-CA" dirty="0" err="1" smtClean="0"/>
              <a:t>Fourth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4"/>
            <a:r>
              <a:rPr lang="fr-CA" dirty="0" err="1" smtClean="0"/>
              <a:t>Fifth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/>
          </a:p>
        </p:txBody>
      </p:sp>
      <p:sp>
        <p:nvSpPr>
          <p:cNvPr id="33" name="Slide Number"/>
          <p:cNvSpPr txBox="1">
            <a:spLocks/>
          </p:cNvSpPr>
          <p:nvPr userDrawn="1"/>
        </p:nvSpPr>
        <p:spPr bwMode="auto">
          <a:xfrm>
            <a:off x="8797851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fr-CA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fr-CA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54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BE" smtClean="0"/>
              <a:t>Modifiez le style du titre</a:t>
            </a:r>
            <a:endParaRPr lang="fr-BE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797851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fr-BE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fr-BE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9491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60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4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900113" y="349250"/>
            <a:ext cx="1014412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900114" y="508000"/>
            <a:ext cx="2911475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Last Modified 13/01/2015 17:03 Easter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900129" y="668338"/>
            <a:ext cx="3070567" cy="140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Printed 09/01/2015 07:39 Central Europea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grpSp>
        <p:nvGrpSpPr>
          <p:cNvPr id="9" name="McK Title Elements" hidden="1"/>
          <p:cNvGrpSpPr>
            <a:grpSpLocks/>
          </p:cNvGrpSpPr>
          <p:nvPr userDrawn="1"/>
        </p:nvGrpSpPr>
        <p:grpSpPr bwMode="auto">
          <a:xfrm>
            <a:off x="900114" y="5459413"/>
            <a:ext cx="4246562" cy="495300"/>
            <a:chOff x="1663" y="3106"/>
            <a:chExt cx="3109" cy="305"/>
          </a:xfrm>
        </p:grpSpPr>
        <p:sp>
          <p:nvSpPr>
            <p:cNvPr id="10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Document type</a:t>
              </a:r>
            </a:p>
          </p:txBody>
        </p:sp>
        <p:sp>
          <p:nvSpPr>
            <p:cNvPr id="11" name="McK Date"/>
            <p:cNvSpPr txBox="1">
              <a:spLocks noChangeArrowheads="1"/>
            </p:cNvSpPr>
            <p:nvPr/>
          </p:nvSpPr>
          <p:spPr bwMode="auto">
            <a:xfrm>
              <a:off x="1663" y="3278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Date</a:t>
              </a:r>
            </a:p>
          </p:txBody>
        </p:sp>
      </p:grpSp>
      <p:cxnSp>
        <p:nvCxnSpPr>
          <p:cNvPr id="12" name="Connecteur droit 77"/>
          <p:cNvCxnSpPr>
            <a:cxnSpLocks noChangeShapeType="1"/>
          </p:cNvCxnSpPr>
          <p:nvPr userDrawn="1"/>
        </p:nvCxnSpPr>
        <p:spPr bwMode="auto">
          <a:xfrm>
            <a:off x="900113" y="1928829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Connecteur droit 18"/>
          <p:cNvCxnSpPr>
            <a:cxnSpLocks noChangeShapeType="1"/>
          </p:cNvCxnSpPr>
          <p:nvPr userDrawn="1"/>
        </p:nvCxnSpPr>
        <p:spPr bwMode="auto">
          <a:xfrm>
            <a:off x="900113" y="4535504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doc id"/>
          <p:cNvSpPr>
            <a:spLocks noChangeArrowheads="1"/>
          </p:cNvSpPr>
          <p:nvPr userDrawn="1"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900797" y="2978649"/>
            <a:ext cx="7570143" cy="507831"/>
          </a:xfrm>
          <a:prstGeom prst="rect">
            <a:avLst/>
          </a:prstGeom>
        </p:spPr>
        <p:txBody>
          <a:bodyPr anchor="b"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900797" y="3532912"/>
            <a:ext cx="7570143" cy="281327"/>
          </a:xfrm>
        </p:spPr>
        <p:txBody>
          <a:bodyPr/>
          <a:lstStyle>
            <a:lvl1pPr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123484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" y="1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25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" y="1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603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2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504" y="193536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6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44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9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B9122DE9-0848-421C-B6C9-94C2855A5B5E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597F3B0A-C10B-4E8F-9DAA-585133335BBA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0840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2992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" y="1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9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" y="1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603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2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504" y="193536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6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44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9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0E34F5A2-79AF-471C-BE32-FD7C4015D50D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829D0481-FB1B-4805-A8BC-6C01CA8AA29C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8593164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" y="1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60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" y="1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603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2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504" y="193536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6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44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9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AA6E7668-7EDE-48BA-B968-AD1FF5839EE3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graphicFrame>
        <p:nvGraphicFramePr>
          <p:cNvPr id="62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61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2643AB0-D6F0-498A-B4FF-1E69E428731E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4" name="TextBox 2"/>
          <p:cNvSpPr txBox="1">
            <a:spLocks noChangeArrowheads="1"/>
          </p:cNvSpPr>
          <p:nvPr userDrawn="1"/>
        </p:nvSpPr>
        <p:spPr bwMode="auto">
          <a:xfrm>
            <a:off x="8545513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E0F2354-2B92-41C4-9E88-69F40DFD72D7}" type="slidenum">
              <a:rPr lang="fr-FR" altLang="fr-FR" sz="10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pPr eaLnBrk="1" hangingPunct="1">
                <a:defRPr/>
              </a:pPr>
              <a:t>‹N°›</a:t>
            </a:fld>
            <a:endParaRPr lang="fr-FR" altLang="fr-FR" sz="10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5" name="TextBox 3"/>
          <p:cNvSpPr txBox="1">
            <a:spLocks noChangeArrowheads="1"/>
          </p:cNvSpPr>
          <p:nvPr userDrawn="1"/>
        </p:nvSpPr>
        <p:spPr bwMode="auto">
          <a:xfrm>
            <a:off x="8545513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91E7A144-434E-4573-BAAC-3F8EA01BCF9E}" type="slidenum">
              <a:rPr lang="en-US" altLang="fr-FR" sz="10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pPr eaLnBrk="1" hangingPunct="1">
                <a:defRPr/>
              </a:pPr>
              <a:t>‹N°›</a:t>
            </a:fld>
            <a:endParaRPr lang="en-US" altLang="fr-FR" sz="10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00"/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660162582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19099" y="1617629"/>
            <a:ext cx="3996381" cy="491583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CA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1804" y="1617663"/>
            <a:ext cx="4319784" cy="490696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CA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0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>
              <a:defRPr lang="fr-CA" smtClean="0"/>
            </a:lvl1pPr>
          </a:lstStyle>
          <a:p>
            <a:fld id="{D73FBFF8-CB31-4296-AD8B-60BCBFD47ECF}" type="slidenum">
              <a:rPr lang="fr-CA" smtClean="0"/>
              <a:pPr/>
              <a:t>‹N°›</a:t>
            </a:fld>
            <a:endParaRPr lang="fr-CA" dirty="0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419100" y="577850"/>
            <a:ext cx="8472488" cy="735013"/>
          </a:xfrm>
        </p:spPr>
        <p:txBody>
          <a:bodyPr/>
          <a:lstStyle>
            <a:lvl1pPr>
              <a:defRPr lang="fr-CA" sz="3400" b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dirty="0" smtClean="0"/>
              <a:t>Modifiez le style du titr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04293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" y="1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1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" y="1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603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2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504" y="193536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6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44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9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6E76969-1631-494A-BD76-7D428029ADEB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626F3DF8-D7A2-406A-A3F4-99918D1918D9}" type="slidenum">
              <a:rPr lang="fr-BE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fr-BE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BE" smtClean="0"/>
              <a:t>Modifiez le style du titre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9832480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5049075"/>
              </p:ext>
            </p:extLst>
          </p:nvPr>
        </p:nvGraphicFramePr>
        <p:xfrm>
          <a:off x="1591" y="160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60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900797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900812" y="508601"/>
            <a:ext cx="2881213" cy="140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Last Modified 13/01/2015 17:03 Easter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900811" y="668958"/>
            <a:ext cx="3070567" cy="140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Printed 09/01/2015 07:39 Central Europea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900812" y="5460172"/>
            <a:ext cx="4245361" cy="494022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8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900797" y="2978648"/>
            <a:ext cx="7570143" cy="507831"/>
          </a:xfrm>
          <a:prstGeom prst="rect">
            <a:avLst/>
          </a:prstGeom>
        </p:spPr>
        <p:txBody>
          <a:bodyPr anchor="b"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900797" y="3532912"/>
            <a:ext cx="7570143" cy="281327"/>
          </a:xfrm>
        </p:spPr>
        <p:txBody>
          <a:bodyPr>
            <a:spAutoFit/>
          </a:bodyPr>
          <a:lstStyle>
            <a:lvl1pPr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cxnSp>
        <p:nvCxnSpPr>
          <p:cNvPr id="19" name="Connecteur droit 18"/>
          <p:cNvCxnSpPr>
            <a:cxnSpLocks noChangeShapeType="1"/>
          </p:cNvCxnSpPr>
          <p:nvPr userDrawn="1"/>
        </p:nvCxnSpPr>
        <p:spPr bwMode="auto">
          <a:xfrm>
            <a:off x="900797" y="1928829"/>
            <a:ext cx="7570143" cy="111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Connecteur droit 18"/>
          <p:cNvCxnSpPr>
            <a:cxnSpLocks noChangeShapeType="1"/>
          </p:cNvCxnSpPr>
          <p:nvPr userDrawn="1"/>
        </p:nvCxnSpPr>
        <p:spPr bwMode="auto">
          <a:xfrm>
            <a:off x="900797" y="4535167"/>
            <a:ext cx="7570143" cy="1116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35806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824"/>
            <a:endParaRPr lang="en-US" sz="800" dirty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230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797850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6915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297092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8797850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9456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300"/>
            </a:lvl1pPr>
          </a:lstStyle>
          <a:p>
            <a:r>
              <a:rPr lang="fr-FR" dirty="0" smtClean="0"/>
              <a:t>Modifiez le style du titre</a:t>
            </a:r>
            <a:endParaRPr lang="fr-CA" dirty="0"/>
          </a:p>
        </p:txBody>
      </p:sp>
      <p:sp>
        <p:nvSpPr>
          <p:cNvPr id="6" name="Slide Number"/>
          <p:cNvSpPr txBox="1">
            <a:spLocks/>
          </p:cNvSpPr>
          <p:nvPr userDrawn="1"/>
        </p:nvSpPr>
        <p:spPr bwMode="auto">
          <a:xfrm>
            <a:off x="8797850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8848DA75-2743-4AF4-93F2-E11E25C87F0C}" type="slidenum">
              <a:rPr lang="fr-FR" sz="1000" smtClean="0">
                <a:solidFill>
                  <a:srgbClr val="000000"/>
                </a:solidFill>
                <a:sym typeface="Arial" pitchFamily="34" charset="0"/>
              </a:rPr>
              <a:pPr/>
              <a:t>‹N°›</a:t>
            </a:fld>
            <a:endParaRPr lang="fr-FR" sz="10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10B04E0C-496C-4B1C-A8C9-CB63B548524C}" type="slidenum">
              <a:rPr lang="en-US" sz="1000" smtClean="0">
                <a:solidFill>
                  <a:srgbClr val="000000"/>
                </a:solidFill>
                <a:sym typeface="Arial" pitchFamily="34" charset="0"/>
              </a:rPr>
              <a:pPr/>
              <a:t>‹N°›</a:t>
            </a:fld>
            <a:endParaRPr lang="en-US" sz="1000">
              <a:solidFill>
                <a:srgbClr val="000000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2614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dirty="0" smtClean="0"/>
              <a:t>Click to </a:t>
            </a:r>
            <a:r>
              <a:rPr lang="fr-CA" dirty="0" err="1" smtClean="0"/>
              <a:t>edit</a:t>
            </a:r>
            <a:r>
              <a:rPr lang="fr-CA" dirty="0" smtClean="0"/>
              <a:t> Master </a:t>
            </a:r>
            <a:r>
              <a:rPr lang="fr-CA" dirty="0" err="1" smtClean="0"/>
              <a:t>title</a:t>
            </a:r>
            <a:r>
              <a:rPr lang="fr-CA" dirty="0" smtClean="0"/>
              <a:t> style</a:t>
            </a:r>
            <a:endParaRPr lang="fr-C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2508999"/>
            <a:ext cx="4389768" cy="1244331"/>
          </a:xfrm>
        </p:spPr>
        <p:txBody>
          <a:bodyPr/>
          <a:lstStyle/>
          <a:p>
            <a:pPr lvl="0"/>
            <a:r>
              <a:rPr lang="fr-CA" dirty="0" smtClean="0"/>
              <a:t>Click to </a:t>
            </a:r>
            <a:r>
              <a:rPr lang="fr-CA" dirty="0" err="1" smtClean="0"/>
              <a:t>edit</a:t>
            </a:r>
            <a:r>
              <a:rPr lang="fr-CA" dirty="0" smtClean="0"/>
              <a:t> Master </a:t>
            </a:r>
            <a:r>
              <a:rPr lang="fr-CA" dirty="0" err="1" smtClean="0"/>
              <a:t>text</a:t>
            </a:r>
            <a:r>
              <a:rPr lang="fr-CA" dirty="0" smtClean="0"/>
              <a:t> styles</a:t>
            </a:r>
          </a:p>
          <a:p>
            <a:pPr lvl="1"/>
            <a:r>
              <a:rPr lang="fr-CA" dirty="0" smtClean="0"/>
              <a:t>Second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2"/>
            <a:r>
              <a:rPr lang="fr-CA" dirty="0" err="1" smtClean="0"/>
              <a:t>Third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3"/>
            <a:r>
              <a:rPr lang="fr-CA" dirty="0" err="1" smtClean="0"/>
              <a:t>Fourth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 smtClean="0"/>
          </a:p>
          <a:p>
            <a:pPr lvl="4"/>
            <a:r>
              <a:rPr lang="fr-CA" dirty="0" err="1" smtClean="0"/>
              <a:t>Fifth</a:t>
            </a:r>
            <a:r>
              <a:rPr lang="fr-CA" dirty="0" smtClean="0"/>
              <a:t> </a:t>
            </a:r>
            <a:r>
              <a:rPr lang="fr-CA" dirty="0" err="1" smtClean="0"/>
              <a:t>level</a:t>
            </a:r>
            <a:endParaRPr lang="fr-CA" dirty="0"/>
          </a:p>
        </p:txBody>
      </p:sp>
      <p:sp>
        <p:nvSpPr>
          <p:cNvPr id="33" name="Slide Number"/>
          <p:cNvSpPr txBox="1">
            <a:spLocks/>
          </p:cNvSpPr>
          <p:nvPr userDrawn="1"/>
        </p:nvSpPr>
        <p:spPr bwMode="auto">
          <a:xfrm>
            <a:off x="8797850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fr-CA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fr-CA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794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BE" smtClean="0"/>
              <a:t>Modifiez le style du titre</a:t>
            </a:r>
            <a:endParaRPr lang="fr-BE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797850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fr-BE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fr-BE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203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18"/>
          <p:cNvCxnSpPr>
            <a:cxnSpLocks noChangeShapeType="1"/>
          </p:cNvCxnSpPr>
          <p:nvPr/>
        </p:nvCxnSpPr>
        <p:spPr bwMode="auto">
          <a:xfrm>
            <a:off x="900783" y="1928827"/>
            <a:ext cx="7570143" cy="111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Connecteur droit 18"/>
          <p:cNvCxnSpPr>
            <a:cxnSpLocks noChangeShapeType="1"/>
          </p:cNvCxnSpPr>
          <p:nvPr/>
        </p:nvCxnSpPr>
        <p:spPr bwMode="auto">
          <a:xfrm>
            <a:off x="900783" y="4535166"/>
            <a:ext cx="7570143" cy="1116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" name="Image 8" descr="LOGO_COOP_PMS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933" y="5988472"/>
            <a:ext cx="1777008" cy="753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80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34331" y="2130847"/>
            <a:ext cx="7036594" cy="1323826"/>
          </a:xfrm>
        </p:spPr>
        <p:txBody>
          <a:bodyPr anchor="b"/>
          <a:lstStyle>
            <a:lvl1pPr>
              <a:defRPr sz="3500"/>
            </a:lvl1pPr>
          </a:lstStyle>
          <a:p>
            <a:pPr lvl="0"/>
            <a:r>
              <a:rPr lang="fr-CA" noProof="0" smtClean="0">
                <a:sym typeface="Gotham-Medium" pitchFamily="88" charset="0"/>
              </a:rPr>
              <a:t>Cliquez pour modifier le style du titre</a:t>
            </a:r>
          </a:p>
        </p:txBody>
      </p:sp>
      <p:sp>
        <p:nvSpPr>
          <p:cNvPr id="7680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34331" y="3454673"/>
            <a:ext cx="7036594" cy="415177"/>
          </a:xfrm>
        </p:spPr>
        <p:txBody>
          <a:bodyPr lIns="0"/>
          <a:lstStyle>
            <a:lvl1pPr marL="0" indent="0">
              <a:buFontTx/>
              <a:buNone/>
              <a:defRPr sz="2100"/>
            </a:lvl1pPr>
          </a:lstStyle>
          <a:p>
            <a:pPr lvl="0"/>
            <a:r>
              <a:rPr lang="fr-CA" noProof="0" smtClean="0">
                <a:sym typeface="Gotham-Medium" pitchFamily="88" charset="0"/>
              </a:rPr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1473869535"/>
      </p:ext>
    </p:extLst>
  </p:cSld>
  <p:clrMapOvr>
    <a:masterClrMapping/>
  </p:clrMapOvr>
  <p:transition>
    <p:fade/>
  </p:transition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B00266A-ED36-4B4C-885C-70D4610370B4}" type="slidenum">
              <a:rPr lang="fr-CA" altLang="fr-FR"/>
              <a:pPr>
                <a:defRPr/>
              </a:pPr>
              <a:t>‹N°›</a:t>
            </a:fld>
            <a:endParaRPr lang="fr-CA" altLang="fr-FR" dirty="0"/>
          </a:p>
        </p:txBody>
      </p:sp>
    </p:spTree>
    <p:extLst>
      <p:ext uri="{BB962C8B-B14F-4D97-AF65-F5344CB8AC3E}">
        <p14:creationId xmlns:p14="http://schemas.microsoft.com/office/powerpoint/2010/main" val="1837731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>
              <a:defRPr lang="fr-CA" smtClean="0"/>
            </a:lvl1pPr>
          </a:lstStyle>
          <a:p>
            <a:fld id="{43682BF4-901C-4A0D-B2C1-33D719846648}" type="slidenum">
              <a:rPr lang="fr-CA" smtClean="0"/>
              <a:pPr/>
              <a:t>‹N°›</a:t>
            </a:fld>
            <a:endParaRPr lang="fr-CA" dirty="0"/>
          </a:p>
        </p:txBody>
      </p:sp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419101" y="577850"/>
            <a:ext cx="8472487" cy="735013"/>
          </a:xfrm>
        </p:spPr>
        <p:txBody>
          <a:bodyPr/>
          <a:lstStyle>
            <a:lvl1pPr>
              <a:defRPr lang="fr-CA" sz="3400" b="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dirty="0" smtClean="0"/>
              <a:t>Modifiez le style du titre</a:t>
            </a:r>
            <a:endParaRPr lang="fr-CA" dirty="0"/>
          </a:p>
        </p:txBody>
      </p:sp>
      <p:sp>
        <p:nvSpPr>
          <p:cNvPr id="6" name="Espace réservé du contenu 2"/>
          <p:cNvSpPr>
            <a:spLocks noGrp="1"/>
          </p:cNvSpPr>
          <p:nvPr>
            <p:ph idx="1"/>
          </p:nvPr>
        </p:nvSpPr>
        <p:spPr>
          <a:xfrm>
            <a:off x="419101" y="1465263"/>
            <a:ext cx="8472488" cy="50324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999108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189" y="4406802"/>
            <a:ext cx="7772176" cy="1361777"/>
          </a:xfrm>
        </p:spPr>
        <p:txBody>
          <a:bodyPr/>
          <a:lstStyle>
            <a:lvl1pPr algn="l">
              <a:defRPr sz="2800" b="1" cap="all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189" y="4093959"/>
            <a:ext cx="7772176" cy="312842"/>
          </a:xfrm>
        </p:spPr>
        <p:txBody>
          <a:bodyPr anchor="b"/>
          <a:lstStyle>
            <a:lvl1pPr marL="0" indent="0">
              <a:buNone/>
              <a:defRPr sz="1400"/>
            </a:lvl1pPr>
            <a:lvl2pPr marL="321208" indent="0">
              <a:buNone/>
              <a:defRPr sz="1300"/>
            </a:lvl2pPr>
            <a:lvl3pPr marL="642420" indent="0">
              <a:buNone/>
              <a:defRPr sz="1100"/>
            </a:lvl3pPr>
            <a:lvl4pPr marL="963629" indent="0">
              <a:buNone/>
              <a:defRPr sz="1000"/>
            </a:lvl4pPr>
            <a:lvl5pPr marL="1284842" indent="0">
              <a:buNone/>
              <a:defRPr sz="1000"/>
            </a:lvl5pPr>
            <a:lvl6pPr marL="1606052" indent="0">
              <a:buNone/>
              <a:defRPr sz="1000"/>
            </a:lvl6pPr>
            <a:lvl7pPr marL="1927263" indent="0">
              <a:buNone/>
              <a:defRPr sz="1000"/>
            </a:lvl7pPr>
            <a:lvl8pPr marL="2248476" indent="0">
              <a:buNone/>
              <a:defRPr sz="1000"/>
            </a:lvl8pPr>
            <a:lvl9pPr marL="2569686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D6502943-AD56-4189-AEE9-B9445C09AE40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3174447474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900782" y="1395264"/>
            <a:ext cx="3731493" cy="181940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39432" y="1395264"/>
            <a:ext cx="3731494" cy="1819408"/>
          </a:xfrm>
        </p:spPr>
        <p:txBody>
          <a:bodyPr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42BDEDD-8850-4C82-824A-0CFCB372B034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169605527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647" y="1569151"/>
            <a:ext cx="4039568" cy="60522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208" indent="0">
              <a:buNone/>
              <a:defRPr sz="1400" b="1"/>
            </a:lvl2pPr>
            <a:lvl3pPr marL="642420" indent="0">
              <a:buNone/>
              <a:defRPr sz="1300" b="1"/>
            </a:lvl3pPr>
            <a:lvl4pPr marL="963629" indent="0">
              <a:buNone/>
              <a:defRPr sz="1100" b="1"/>
            </a:lvl4pPr>
            <a:lvl5pPr marL="1284842" indent="0">
              <a:buNone/>
              <a:defRPr sz="1100" b="1"/>
            </a:lvl5pPr>
            <a:lvl6pPr marL="1606052" indent="0">
              <a:buNone/>
              <a:defRPr sz="1100" b="1"/>
            </a:lvl6pPr>
            <a:lvl7pPr marL="1927263" indent="0">
              <a:buNone/>
              <a:defRPr sz="1100" b="1"/>
            </a:lvl7pPr>
            <a:lvl8pPr marL="2248476" indent="0">
              <a:buNone/>
              <a:defRPr sz="1100" b="1"/>
            </a:lvl8pPr>
            <a:lvl9pPr marL="2569686" indent="0">
              <a:buNone/>
              <a:defRPr sz="11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647" y="2174384"/>
            <a:ext cx="4039568" cy="1573102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4555" y="1569151"/>
            <a:ext cx="4041799" cy="605229"/>
          </a:xfrm>
        </p:spPr>
        <p:txBody>
          <a:bodyPr anchor="b"/>
          <a:lstStyle>
            <a:lvl1pPr marL="0" indent="0">
              <a:buNone/>
              <a:defRPr sz="1700" b="1"/>
            </a:lvl1pPr>
            <a:lvl2pPr marL="321208" indent="0">
              <a:buNone/>
              <a:defRPr sz="1400" b="1"/>
            </a:lvl2pPr>
            <a:lvl3pPr marL="642420" indent="0">
              <a:buNone/>
              <a:defRPr sz="1300" b="1"/>
            </a:lvl3pPr>
            <a:lvl4pPr marL="963629" indent="0">
              <a:buNone/>
              <a:defRPr sz="1100" b="1"/>
            </a:lvl4pPr>
            <a:lvl5pPr marL="1284842" indent="0">
              <a:buNone/>
              <a:defRPr sz="1100" b="1"/>
            </a:lvl5pPr>
            <a:lvl6pPr marL="1606052" indent="0">
              <a:buNone/>
              <a:defRPr sz="1100" b="1"/>
            </a:lvl6pPr>
            <a:lvl7pPr marL="1927263" indent="0">
              <a:buNone/>
              <a:defRPr sz="1100" b="1"/>
            </a:lvl7pPr>
            <a:lvl8pPr marL="2248476" indent="0">
              <a:buNone/>
              <a:defRPr sz="1100" b="1"/>
            </a:lvl8pPr>
            <a:lvl9pPr marL="2569686" indent="0">
              <a:buNone/>
              <a:defRPr sz="11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4555" y="2174384"/>
            <a:ext cx="4041799" cy="1573102"/>
          </a:xfrm>
        </p:spPr>
        <p:txBody>
          <a:bodyPr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BAF0ED23-E47E-47F1-A640-C843681424D1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2995258699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9ADD85F9-831B-4BC5-B23A-292D4C1B3BB7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2322210044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345D0545-90E7-417D-9BB1-9B38903DE54F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202403938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662" y="273488"/>
            <a:ext cx="3008189" cy="116197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224" y="273478"/>
            <a:ext cx="5111130" cy="2044769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662" y="1435448"/>
            <a:ext cx="3008189" cy="254364"/>
          </a:xfrm>
        </p:spPr>
        <p:txBody>
          <a:bodyPr/>
          <a:lstStyle>
            <a:lvl1pPr marL="0" indent="0">
              <a:buNone/>
              <a:defRPr sz="1000"/>
            </a:lvl1pPr>
            <a:lvl2pPr marL="321208" indent="0">
              <a:buNone/>
              <a:defRPr sz="800"/>
            </a:lvl2pPr>
            <a:lvl3pPr marL="642420" indent="0">
              <a:buNone/>
              <a:defRPr sz="700"/>
            </a:lvl3pPr>
            <a:lvl4pPr marL="963629" indent="0">
              <a:buNone/>
              <a:defRPr sz="600"/>
            </a:lvl4pPr>
            <a:lvl5pPr marL="1284842" indent="0">
              <a:buNone/>
              <a:defRPr sz="600"/>
            </a:lvl5pPr>
            <a:lvl6pPr marL="1606052" indent="0">
              <a:buNone/>
              <a:defRPr sz="600"/>
            </a:lvl6pPr>
            <a:lvl7pPr marL="1927263" indent="0">
              <a:buNone/>
              <a:defRPr sz="600"/>
            </a:lvl7pPr>
            <a:lvl8pPr marL="2248476" indent="0">
              <a:buNone/>
              <a:defRPr sz="600"/>
            </a:lvl8pPr>
            <a:lvl9pPr marL="2569686" indent="0">
              <a:buNone/>
              <a:defRPr sz="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EAA2AD4A-BC6E-4F6B-927A-68DB9DB4A82F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3198544519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650" y="4800824"/>
            <a:ext cx="5486177" cy="567035"/>
          </a:xfrm>
        </p:spPr>
        <p:txBody>
          <a:bodyPr anchor="b"/>
          <a:lstStyle>
            <a:lvl1pPr algn="l">
              <a:defRPr sz="1400" b="1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650" y="612815"/>
            <a:ext cx="5486177" cy="429797"/>
          </a:xfrm>
        </p:spPr>
        <p:txBody>
          <a:bodyPr/>
          <a:lstStyle>
            <a:lvl1pPr marL="0" indent="0">
              <a:buNone/>
              <a:defRPr sz="2200"/>
            </a:lvl1pPr>
            <a:lvl2pPr marL="321208" indent="0">
              <a:buNone/>
              <a:defRPr sz="2000"/>
            </a:lvl2pPr>
            <a:lvl3pPr marL="642420" indent="0">
              <a:buNone/>
              <a:defRPr sz="1700"/>
            </a:lvl3pPr>
            <a:lvl4pPr marL="963629" indent="0">
              <a:buNone/>
              <a:defRPr sz="1400"/>
            </a:lvl4pPr>
            <a:lvl5pPr marL="1284842" indent="0">
              <a:buNone/>
              <a:defRPr sz="1400"/>
            </a:lvl5pPr>
            <a:lvl6pPr marL="1606052" indent="0">
              <a:buNone/>
              <a:defRPr sz="1400"/>
            </a:lvl6pPr>
            <a:lvl7pPr marL="1927263" indent="0">
              <a:buNone/>
              <a:defRPr sz="1400"/>
            </a:lvl7pPr>
            <a:lvl8pPr marL="2248476" indent="0">
              <a:buNone/>
              <a:defRPr sz="1400"/>
            </a:lvl8pPr>
            <a:lvl9pPr marL="2569686" indent="0">
              <a:buNone/>
              <a:defRPr sz="1400"/>
            </a:lvl9pPr>
          </a:lstStyle>
          <a:p>
            <a:pPr lvl="0"/>
            <a:endParaRPr lang="fr-CA" noProof="0" smtClean="0">
              <a:sym typeface="Gotham-Medium" pitchFamily="88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650" y="5367859"/>
            <a:ext cx="5486177" cy="254364"/>
          </a:xfrm>
        </p:spPr>
        <p:txBody>
          <a:bodyPr/>
          <a:lstStyle>
            <a:lvl1pPr marL="0" indent="0">
              <a:buNone/>
              <a:defRPr sz="1000"/>
            </a:lvl1pPr>
            <a:lvl2pPr marL="321208" indent="0">
              <a:buNone/>
              <a:defRPr sz="800"/>
            </a:lvl2pPr>
            <a:lvl3pPr marL="642420" indent="0">
              <a:buNone/>
              <a:defRPr sz="700"/>
            </a:lvl3pPr>
            <a:lvl4pPr marL="963629" indent="0">
              <a:buNone/>
              <a:defRPr sz="600"/>
            </a:lvl4pPr>
            <a:lvl5pPr marL="1284842" indent="0">
              <a:buNone/>
              <a:defRPr sz="600"/>
            </a:lvl5pPr>
            <a:lvl6pPr marL="1606052" indent="0">
              <a:buNone/>
              <a:defRPr sz="600"/>
            </a:lvl6pPr>
            <a:lvl7pPr marL="1927263" indent="0">
              <a:buNone/>
              <a:defRPr sz="600"/>
            </a:lvl7pPr>
            <a:lvl8pPr marL="2248476" indent="0">
              <a:buNone/>
              <a:defRPr sz="600"/>
            </a:lvl8pPr>
            <a:lvl9pPr marL="2569686" indent="0">
              <a:buNone/>
              <a:defRPr sz="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23296A9-1FCE-4645-9663-D7A58B886D68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213735369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1308394" y="1395264"/>
            <a:ext cx="7162535" cy="149316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ECC295B-36EE-4AC9-86E1-916B72C1AAD0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3721112084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903765" y="377295"/>
            <a:ext cx="2000250" cy="2417713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90051" y="377295"/>
            <a:ext cx="2206563" cy="2417713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A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9CED1B75-F818-4905-9156-93EABF69AF8E}" type="slidenum">
              <a:rPr lang="fr-CA" altLang="fr-FR"/>
              <a:pPr>
                <a:defRPr/>
              </a:pPr>
              <a:t>‹N°›</a:t>
            </a:fld>
            <a:endParaRPr lang="fr-CA" altLang="fr-FR"/>
          </a:p>
        </p:txBody>
      </p:sp>
    </p:spTree>
    <p:extLst>
      <p:ext uri="{BB962C8B-B14F-4D97-AF65-F5344CB8AC3E}">
        <p14:creationId xmlns:p14="http://schemas.microsoft.com/office/powerpoint/2010/main" val="2274488300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900113" y="349250"/>
            <a:ext cx="1014412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WORKING DRAFT</a:t>
            </a: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900114" y="508000"/>
            <a:ext cx="2911475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Last Modified 13/01/2015 17:03 Easter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900119" y="668338"/>
            <a:ext cx="3070567" cy="140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  <a:sym typeface="Arial" pitchFamily="34" charset="0"/>
              </a:rPr>
              <a:t>Printed 09/01/2015 07:39 Central European Standard Time</a:t>
            </a:r>
            <a:endParaRPr lang="en-US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  <a:sym typeface="Arial" pitchFamily="34" charset="0"/>
            </a:endParaRPr>
          </a:p>
        </p:txBody>
      </p:sp>
      <p:grpSp>
        <p:nvGrpSpPr>
          <p:cNvPr id="9" name="McK Title Elements" hidden="1"/>
          <p:cNvGrpSpPr>
            <a:grpSpLocks/>
          </p:cNvGrpSpPr>
          <p:nvPr userDrawn="1"/>
        </p:nvGrpSpPr>
        <p:grpSpPr bwMode="auto">
          <a:xfrm>
            <a:off x="900114" y="5459413"/>
            <a:ext cx="4246562" cy="495300"/>
            <a:chOff x="1663" y="3106"/>
            <a:chExt cx="3109" cy="305"/>
          </a:xfrm>
        </p:grpSpPr>
        <p:sp>
          <p:nvSpPr>
            <p:cNvPr id="10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Document type</a:t>
              </a:r>
            </a:p>
          </p:txBody>
        </p:sp>
        <p:sp>
          <p:nvSpPr>
            <p:cNvPr id="11" name="McK Date"/>
            <p:cNvSpPr txBox="1">
              <a:spLocks noChangeArrowheads="1"/>
            </p:cNvSpPr>
            <p:nvPr/>
          </p:nvSpPr>
          <p:spPr bwMode="auto">
            <a:xfrm>
              <a:off x="1663" y="3278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Date</a:t>
              </a:r>
            </a:p>
          </p:txBody>
        </p:sp>
      </p:grpSp>
      <p:cxnSp>
        <p:nvCxnSpPr>
          <p:cNvPr id="12" name="Connecteur droit 77"/>
          <p:cNvCxnSpPr>
            <a:cxnSpLocks noChangeShapeType="1"/>
          </p:cNvCxnSpPr>
          <p:nvPr userDrawn="1"/>
        </p:nvCxnSpPr>
        <p:spPr bwMode="auto">
          <a:xfrm>
            <a:off x="900113" y="1928819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Connecteur droit 18"/>
          <p:cNvCxnSpPr>
            <a:cxnSpLocks noChangeShapeType="1"/>
          </p:cNvCxnSpPr>
          <p:nvPr userDrawn="1"/>
        </p:nvCxnSpPr>
        <p:spPr bwMode="auto">
          <a:xfrm>
            <a:off x="900113" y="4535494"/>
            <a:ext cx="7570787" cy="1587"/>
          </a:xfrm>
          <a:prstGeom prst="line">
            <a:avLst/>
          </a:prstGeom>
          <a:noFill/>
          <a:ln w="22225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4" name="doc id"/>
          <p:cNvSpPr>
            <a:spLocks noChangeArrowheads="1"/>
          </p:cNvSpPr>
          <p:nvPr userDrawn="1"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900797" y="2978639"/>
            <a:ext cx="7570143" cy="507831"/>
          </a:xfrm>
          <a:prstGeom prst="rect">
            <a:avLst/>
          </a:prstGeom>
        </p:spPr>
        <p:txBody>
          <a:bodyPr anchor="b"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900797" y="3532912"/>
            <a:ext cx="7570143" cy="281327"/>
          </a:xfrm>
        </p:spPr>
        <p:txBody>
          <a:bodyPr/>
          <a:lstStyle>
            <a:lvl1pPr>
              <a:defRPr sz="18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487108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>
              <a:defRPr lang="fr-CA" smtClean="0"/>
            </a:lvl1pPr>
          </a:lstStyle>
          <a:p>
            <a:fld id="{48CA9AE0-3C26-425F-B176-959D5B65354F}" type="slidenum">
              <a:rPr lang="fr-CA" smtClean="0"/>
              <a:pPr/>
              <a:t>‹N°›</a:t>
            </a:fld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331853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65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592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4" y="193534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27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8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B9122DE9-0848-421C-B6C9-94C2855A5B5E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597F3B0A-C10B-4E8F-9DAA-585133335BBA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9790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421174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9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592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4" y="193534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27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8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0E34F5A2-79AF-471C-BE32-FD7C4015D50D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829D0481-FB1B-4805-A8BC-6C01CA8AA29C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3373339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00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592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4" y="193534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27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8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AA6E7668-7EDE-48BA-B968-AD1FF5839EE3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graphicFrame>
        <p:nvGraphicFramePr>
          <p:cNvPr id="62" name="Object 4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01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2643AB0-D6F0-498A-B4FF-1E69E428731E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4" name="TextBox 2"/>
          <p:cNvSpPr txBox="1">
            <a:spLocks noChangeArrowheads="1"/>
          </p:cNvSpPr>
          <p:nvPr userDrawn="1"/>
        </p:nvSpPr>
        <p:spPr bwMode="auto">
          <a:xfrm>
            <a:off x="8545513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2E0F2354-2B92-41C4-9E88-69F40DFD72D7}" type="slidenum">
              <a:rPr lang="fr-FR" altLang="fr-FR" sz="10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pPr eaLnBrk="1" hangingPunct="1">
                <a:defRPr/>
              </a:pPr>
              <a:t>‹N°›</a:t>
            </a:fld>
            <a:endParaRPr lang="fr-FR" altLang="fr-FR" sz="10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5" name="TextBox 3"/>
          <p:cNvSpPr txBox="1">
            <a:spLocks noChangeArrowheads="1"/>
          </p:cNvSpPr>
          <p:nvPr userDrawn="1"/>
        </p:nvSpPr>
        <p:spPr bwMode="auto">
          <a:xfrm>
            <a:off x="8545513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91E7A144-434E-4573-BAAC-3F8EA01BCF9E}" type="slidenum">
              <a:rPr lang="en-US" altLang="fr-FR" sz="10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rPr>
              <a:pPr eaLnBrk="1" hangingPunct="1">
                <a:defRPr/>
              </a:pPr>
              <a:t>‹N°›</a:t>
            </a:fld>
            <a:endParaRPr lang="en-US" altLang="fr-FR" sz="10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300"/>
            </a:lvl1pPr>
          </a:lstStyle>
          <a:p>
            <a:r>
              <a:rPr lang="fr-FR" smtClean="0"/>
              <a:t>Modifiez le style du titre</a:t>
            </a:r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3292973767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" y="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61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123592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55575" y="60801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4" y="1935346"/>
            <a:ext cx="4391025" cy="511000"/>
            <a:chOff x="915" y="715"/>
            <a:chExt cx="2686" cy="315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956556" y="319088"/>
            <a:ext cx="1071563" cy="730250"/>
            <a:chOff x="4750" y="176"/>
            <a:chExt cx="675" cy="46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961227" y="319089"/>
            <a:ext cx="1066895" cy="212725"/>
            <a:chOff x="7673785" y="285750"/>
            <a:chExt cx="1066990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36" name="Oval 90"/>
            <p:cNvSpPr>
              <a:spLocks noChangeAspect="1"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7" name="Arc 91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3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2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43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44" name="MoonLegend1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6" name="MoonLegend3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5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0" name="Image 8" descr="LOGO_COOP_PMS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8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6E76969-1631-494A-BD76-7D428029ADEB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62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626F3DF8-D7A2-406A-A3F4-99918D1918D9}" type="slidenum">
              <a:rPr lang="fr-BE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fr-BE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fr-BE" smtClean="0"/>
              <a:t>Modifiez le style du titre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305642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CA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4" indent="0">
              <a:buNone/>
              <a:defRPr sz="1800"/>
            </a:lvl2pPr>
            <a:lvl3pPr marL="914306" indent="0">
              <a:buNone/>
              <a:defRPr sz="1600"/>
            </a:lvl3pPr>
            <a:lvl4pPr marL="1371460" indent="0">
              <a:buNone/>
              <a:defRPr sz="1400"/>
            </a:lvl4pPr>
            <a:lvl5pPr marL="1828613" indent="0">
              <a:buNone/>
              <a:defRPr sz="1400"/>
            </a:lvl5pPr>
            <a:lvl6pPr marL="2285766" indent="0">
              <a:buNone/>
              <a:defRPr sz="1400"/>
            </a:lvl6pPr>
            <a:lvl7pPr marL="2742920" indent="0">
              <a:buNone/>
              <a:defRPr sz="1400"/>
            </a:lvl7pPr>
            <a:lvl8pPr marL="3200072" indent="0">
              <a:buNone/>
              <a:defRPr sz="1400"/>
            </a:lvl8pPr>
            <a:lvl9pPr marL="3657226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A3E2EF-3C6C-4124-9F64-CF119B4A88A1}" type="slidenum">
              <a:rPr lang="fr-CA"/>
              <a:pPr>
                <a:defRPr/>
              </a:pPr>
              <a:t>‹N°›</a:t>
            </a:fld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2309196674"/>
      </p:ext>
    </p:extLst>
  </p:cSld>
  <p:clrMapOvr>
    <a:masterClrMapping/>
  </p:clrMapOvr>
  <p:transition>
    <p:randomBar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A" smtClean="0"/>
              <a:t>Click to edit Master title style</a:t>
            </a:r>
            <a:endParaRPr lang="fr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5356" y="1508400"/>
            <a:ext cx="8275203" cy="4615200"/>
          </a:xfrm>
        </p:spPr>
        <p:txBody>
          <a:bodyPr/>
          <a:lstStyle/>
          <a:p>
            <a:pPr lvl="0"/>
            <a:r>
              <a:rPr lang="fr-CA" smtClean="0"/>
              <a:t>Click to edit Master text styles</a:t>
            </a:r>
          </a:p>
          <a:p>
            <a:pPr lvl="1"/>
            <a:r>
              <a:rPr lang="fr-CA" smtClean="0"/>
              <a:t>Second level</a:t>
            </a:r>
          </a:p>
          <a:p>
            <a:pPr lvl="2"/>
            <a:r>
              <a:rPr lang="fr-CA" smtClean="0"/>
              <a:t>Third level</a:t>
            </a:r>
          </a:p>
          <a:p>
            <a:pPr lvl="3"/>
            <a:r>
              <a:rPr lang="fr-CA" smtClean="0"/>
              <a:t>Fourth level</a:t>
            </a:r>
          </a:p>
          <a:p>
            <a:pPr lvl="4"/>
            <a:r>
              <a:rPr lang="fr-CA" smtClean="0"/>
              <a:t>Fifth level</a:t>
            </a:r>
            <a:endParaRPr lang="fr-CA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B6901-B8EA-42E0-93B9-FDDF4DD75316}" type="slidenum">
              <a:rPr lang="fr-CA"/>
              <a:pPr>
                <a:defRPr/>
              </a:pPr>
              <a:t>‹N°›</a:t>
            </a:fld>
            <a:endParaRPr lang="fr-CA" dirty="0"/>
          </a:p>
        </p:txBody>
      </p:sp>
    </p:spTree>
    <p:extLst>
      <p:ext uri="{BB962C8B-B14F-4D97-AF65-F5344CB8AC3E}">
        <p14:creationId xmlns:p14="http://schemas.microsoft.com/office/powerpoint/2010/main" val="15477115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7.vml"/><Relationship Id="rId13" Type="http://schemas.openxmlformats.org/officeDocument/2006/relationships/tags" Target="../tags/tag376.xml"/><Relationship Id="rId18" Type="http://schemas.openxmlformats.org/officeDocument/2006/relationships/tags" Target="../tags/tag381.xml"/><Relationship Id="rId26" Type="http://schemas.openxmlformats.org/officeDocument/2006/relationships/tags" Target="../tags/tag389.xml"/><Relationship Id="rId3" Type="http://schemas.openxmlformats.org/officeDocument/2006/relationships/slideLayout" Target="../slideLayouts/slideLayout71.xml"/><Relationship Id="rId21" Type="http://schemas.openxmlformats.org/officeDocument/2006/relationships/tags" Target="../tags/tag384.xml"/><Relationship Id="rId7" Type="http://schemas.openxmlformats.org/officeDocument/2006/relationships/theme" Target="../theme/theme10.xml"/><Relationship Id="rId12" Type="http://schemas.openxmlformats.org/officeDocument/2006/relationships/tags" Target="../tags/tag375.xml"/><Relationship Id="rId17" Type="http://schemas.openxmlformats.org/officeDocument/2006/relationships/tags" Target="../tags/tag380.xml"/><Relationship Id="rId25" Type="http://schemas.openxmlformats.org/officeDocument/2006/relationships/tags" Target="../tags/tag388.xml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379.xml"/><Relationship Id="rId20" Type="http://schemas.openxmlformats.org/officeDocument/2006/relationships/tags" Target="../tags/tag383.xml"/><Relationship Id="rId29" Type="http://schemas.openxmlformats.org/officeDocument/2006/relationships/image" Target="../media/image7.emf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tags" Target="../tags/tag374.xml"/><Relationship Id="rId24" Type="http://schemas.openxmlformats.org/officeDocument/2006/relationships/tags" Target="../tags/tag387.xml"/><Relationship Id="rId5" Type="http://schemas.openxmlformats.org/officeDocument/2006/relationships/slideLayout" Target="../slideLayouts/slideLayout73.xml"/><Relationship Id="rId15" Type="http://schemas.openxmlformats.org/officeDocument/2006/relationships/tags" Target="../tags/tag378.xml"/><Relationship Id="rId23" Type="http://schemas.openxmlformats.org/officeDocument/2006/relationships/tags" Target="../tags/tag386.xml"/><Relationship Id="rId28" Type="http://schemas.openxmlformats.org/officeDocument/2006/relationships/oleObject" Target="../embeddings/oleObject30.bin"/><Relationship Id="rId10" Type="http://schemas.openxmlformats.org/officeDocument/2006/relationships/tags" Target="../tags/tag373.xml"/><Relationship Id="rId19" Type="http://schemas.openxmlformats.org/officeDocument/2006/relationships/tags" Target="../tags/tag382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372.xml"/><Relationship Id="rId14" Type="http://schemas.openxmlformats.org/officeDocument/2006/relationships/tags" Target="../tags/tag377.xml"/><Relationship Id="rId22" Type="http://schemas.openxmlformats.org/officeDocument/2006/relationships/tags" Target="../tags/tag385.xml"/><Relationship Id="rId27" Type="http://schemas.openxmlformats.org/officeDocument/2006/relationships/tags" Target="../tags/tag390.xml"/><Relationship Id="rId30" Type="http://schemas.openxmlformats.org/officeDocument/2006/relationships/image" Target="../media/image1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8.jpeg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7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tags" Target="../tags/tag113.xml"/><Relationship Id="rId3" Type="http://schemas.openxmlformats.org/officeDocument/2006/relationships/slideLayout" Target="../slideLayouts/slideLayout30.xml"/><Relationship Id="rId21" Type="http://schemas.openxmlformats.org/officeDocument/2006/relationships/tags" Target="../tags/tag108.xml"/><Relationship Id="rId7" Type="http://schemas.openxmlformats.org/officeDocument/2006/relationships/slideLayout" Target="../slideLayouts/slideLayout34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tags" Target="../tags/tag112.xml"/><Relationship Id="rId2" Type="http://schemas.openxmlformats.org/officeDocument/2006/relationships/slideLayout" Target="../slideLayouts/slideLayout29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29" Type="http://schemas.openxmlformats.org/officeDocument/2006/relationships/tags" Target="../tags/tag116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98.xml"/><Relationship Id="rId24" Type="http://schemas.openxmlformats.org/officeDocument/2006/relationships/tags" Target="../tags/tag111.xml"/><Relationship Id="rId32" Type="http://schemas.openxmlformats.org/officeDocument/2006/relationships/image" Target="../media/image8.jpeg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28" Type="http://schemas.openxmlformats.org/officeDocument/2006/relationships/tags" Target="../tags/tag115.xml"/><Relationship Id="rId10" Type="http://schemas.openxmlformats.org/officeDocument/2006/relationships/vmlDrawing" Target="../drawings/vmlDrawing7.vml"/><Relationship Id="rId19" Type="http://schemas.openxmlformats.org/officeDocument/2006/relationships/tags" Target="../tags/tag106.xml"/><Relationship Id="rId31" Type="http://schemas.openxmlformats.org/officeDocument/2006/relationships/image" Target="../media/image7.emf"/><Relationship Id="rId4" Type="http://schemas.openxmlformats.org/officeDocument/2006/relationships/slideLayout" Target="../slideLayouts/slideLayout31.xml"/><Relationship Id="rId9" Type="http://schemas.openxmlformats.org/officeDocument/2006/relationships/theme" Target="../theme/theme4.xml"/><Relationship Id="rId14" Type="http://schemas.openxmlformats.org/officeDocument/2006/relationships/tags" Target="../tags/tag101.xml"/><Relationship Id="rId22" Type="http://schemas.openxmlformats.org/officeDocument/2006/relationships/tags" Target="../tags/tag109.xml"/><Relationship Id="rId27" Type="http://schemas.openxmlformats.org/officeDocument/2006/relationships/tags" Target="../tags/tag114.xml"/><Relationship Id="rId30" Type="http://schemas.openxmlformats.org/officeDocument/2006/relationships/oleObject" Target="../embeddings/oleObject8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tags" Target="../tags/tag236.xml"/><Relationship Id="rId18" Type="http://schemas.openxmlformats.org/officeDocument/2006/relationships/tags" Target="../tags/tag241.xml"/><Relationship Id="rId26" Type="http://schemas.openxmlformats.org/officeDocument/2006/relationships/tags" Target="../tags/tag249.xml"/><Relationship Id="rId3" Type="http://schemas.openxmlformats.org/officeDocument/2006/relationships/slideLayout" Target="../slideLayouts/slideLayout40.xml"/><Relationship Id="rId21" Type="http://schemas.openxmlformats.org/officeDocument/2006/relationships/tags" Target="../tags/tag244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235.xml"/><Relationship Id="rId17" Type="http://schemas.openxmlformats.org/officeDocument/2006/relationships/tags" Target="../tags/tag240.xml"/><Relationship Id="rId25" Type="http://schemas.openxmlformats.org/officeDocument/2006/relationships/tags" Target="../tags/tag248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239.xml"/><Relationship Id="rId20" Type="http://schemas.openxmlformats.org/officeDocument/2006/relationships/tags" Target="../tags/tag243.xml"/><Relationship Id="rId29" Type="http://schemas.openxmlformats.org/officeDocument/2006/relationships/oleObject" Target="../embeddings/oleObject17.bin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tags" Target="../tags/tag234.xml"/><Relationship Id="rId24" Type="http://schemas.openxmlformats.org/officeDocument/2006/relationships/tags" Target="../tags/tag247.xml"/><Relationship Id="rId5" Type="http://schemas.openxmlformats.org/officeDocument/2006/relationships/slideLayout" Target="../slideLayouts/slideLayout42.xml"/><Relationship Id="rId15" Type="http://schemas.openxmlformats.org/officeDocument/2006/relationships/tags" Target="../tags/tag238.xml"/><Relationship Id="rId23" Type="http://schemas.openxmlformats.org/officeDocument/2006/relationships/tags" Target="../tags/tag246.xml"/><Relationship Id="rId28" Type="http://schemas.openxmlformats.org/officeDocument/2006/relationships/tags" Target="../tags/tag251.xml"/><Relationship Id="rId10" Type="http://schemas.openxmlformats.org/officeDocument/2006/relationships/tags" Target="../tags/tag233.xml"/><Relationship Id="rId19" Type="http://schemas.openxmlformats.org/officeDocument/2006/relationships/tags" Target="../tags/tag242.xml"/><Relationship Id="rId31" Type="http://schemas.openxmlformats.org/officeDocument/2006/relationships/image" Target="../media/image8.jpeg"/><Relationship Id="rId4" Type="http://schemas.openxmlformats.org/officeDocument/2006/relationships/slideLayout" Target="../slideLayouts/slideLayout41.xml"/><Relationship Id="rId9" Type="http://schemas.openxmlformats.org/officeDocument/2006/relationships/vmlDrawing" Target="../drawings/vmlDrawing15.vml"/><Relationship Id="rId14" Type="http://schemas.openxmlformats.org/officeDocument/2006/relationships/tags" Target="../tags/tag237.xml"/><Relationship Id="rId22" Type="http://schemas.openxmlformats.org/officeDocument/2006/relationships/tags" Target="../tags/tag245.xml"/><Relationship Id="rId27" Type="http://schemas.openxmlformats.org/officeDocument/2006/relationships/tags" Target="../tags/tag250.xml"/><Relationship Id="rId30" Type="http://schemas.openxmlformats.org/officeDocument/2006/relationships/image" Target="../media/image7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8.vml"/><Relationship Id="rId13" Type="http://schemas.openxmlformats.org/officeDocument/2006/relationships/tags" Target="../tags/tag258.xml"/><Relationship Id="rId18" Type="http://schemas.openxmlformats.org/officeDocument/2006/relationships/tags" Target="../tags/tag263.xml"/><Relationship Id="rId26" Type="http://schemas.openxmlformats.org/officeDocument/2006/relationships/tags" Target="../tags/tag271.xml"/><Relationship Id="rId3" Type="http://schemas.openxmlformats.org/officeDocument/2006/relationships/slideLayout" Target="../slideLayouts/slideLayout47.xml"/><Relationship Id="rId21" Type="http://schemas.openxmlformats.org/officeDocument/2006/relationships/tags" Target="../tags/tag266.xml"/><Relationship Id="rId7" Type="http://schemas.openxmlformats.org/officeDocument/2006/relationships/theme" Target="../theme/theme7.xml"/><Relationship Id="rId12" Type="http://schemas.openxmlformats.org/officeDocument/2006/relationships/tags" Target="../tags/tag257.xml"/><Relationship Id="rId17" Type="http://schemas.openxmlformats.org/officeDocument/2006/relationships/tags" Target="../tags/tag262.xml"/><Relationship Id="rId25" Type="http://schemas.openxmlformats.org/officeDocument/2006/relationships/tags" Target="../tags/tag270.xml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261.xml"/><Relationship Id="rId20" Type="http://schemas.openxmlformats.org/officeDocument/2006/relationships/tags" Target="../tags/tag265.xml"/><Relationship Id="rId29" Type="http://schemas.openxmlformats.org/officeDocument/2006/relationships/image" Target="../media/image7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tags" Target="../tags/tag256.xml"/><Relationship Id="rId24" Type="http://schemas.openxmlformats.org/officeDocument/2006/relationships/tags" Target="../tags/tag269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260.xml"/><Relationship Id="rId23" Type="http://schemas.openxmlformats.org/officeDocument/2006/relationships/tags" Target="../tags/tag268.xml"/><Relationship Id="rId28" Type="http://schemas.openxmlformats.org/officeDocument/2006/relationships/oleObject" Target="../embeddings/oleObject20.bin"/><Relationship Id="rId10" Type="http://schemas.openxmlformats.org/officeDocument/2006/relationships/tags" Target="../tags/tag255.xml"/><Relationship Id="rId19" Type="http://schemas.openxmlformats.org/officeDocument/2006/relationships/tags" Target="../tags/tag264.xml"/><Relationship Id="rId4" Type="http://schemas.openxmlformats.org/officeDocument/2006/relationships/slideLayout" Target="../slideLayouts/slideLayout48.xml"/><Relationship Id="rId9" Type="http://schemas.openxmlformats.org/officeDocument/2006/relationships/tags" Target="../tags/tag254.xml"/><Relationship Id="rId14" Type="http://schemas.openxmlformats.org/officeDocument/2006/relationships/tags" Target="../tags/tag259.xml"/><Relationship Id="rId22" Type="http://schemas.openxmlformats.org/officeDocument/2006/relationships/tags" Target="../tags/tag267.xml"/><Relationship Id="rId27" Type="http://schemas.openxmlformats.org/officeDocument/2006/relationships/tags" Target="../tags/tag272.xml"/><Relationship Id="rId30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tags" Target="../tags/tag354.xml"/><Relationship Id="rId18" Type="http://schemas.openxmlformats.org/officeDocument/2006/relationships/tags" Target="../tags/tag359.xml"/><Relationship Id="rId26" Type="http://schemas.openxmlformats.org/officeDocument/2006/relationships/tags" Target="../tags/tag367.xml"/><Relationship Id="rId3" Type="http://schemas.openxmlformats.org/officeDocument/2006/relationships/slideLayout" Target="../slideLayouts/slideLayout53.xml"/><Relationship Id="rId21" Type="http://schemas.openxmlformats.org/officeDocument/2006/relationships/tags" Target="../tags/tag362.xml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353.xml"/><Relationship Id="rId17" Type="http://schemas.openxmlformats.org/officeDocument/2006/relationships/tags" Target="../tags/tag358.xml"/><Relationship Id="rId25" Type="http://schemas.openxmlformats.org/officeDocument/2006/relationships/tags" Target="../tags/tag366.xml"/><Relationship Id="rId2" Type="http://schemas.openxmlformats.org/officeDocument/2006/relationships/slideLayout" Target="../slideLayouts/slideLayout52.xml"/><Relationship Id="rId16" Type="http://schemas.openxmlformats.org/officeDocument/2006/relationships/tags" Target="../tags/tag357.xml"/><Relationship Id="rId20" Type="http://schemas.openxmlformats.org/officeDocument/2006/relationships/tags" Target="../tags/tag361.xml"/><Relationship Id="rId29" Type="http://schemas.openxmlformats.org/officeDocument/2006/relationships/oleObject" Target="../embeddings/oleObject27.bin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352.xml"/><Relationship Id="rId24" Type="http://schemas.openxmlformats.org/officeDocument/2006/relationships/tags" Target="../tags/tag365.xml"/><Relationship Id="rId5" Type="http://schemas.openxmlformats.org/officeDocument/2006/relationships/slideLayout" Target="../slideLayouts/slideLayout55.xml"/><Relationship Id="rId15" Type="http://schemas.openxmlformats.org/officeDocument/2006/relationships/tags" Target="../tags/tag356.xml"/><Relationship Id="rId23" Type="http://schemas.openxmlformats.org/officeDocument/2006/relationships/tags" Target="../tags/tag364.xml"/><Relationship Id="rId28" Type="http://schemas.openxmlformats.org/officeDocument/2006/relationships/tags" Target="../tags/tag369.xml"/><Relationship Id="rId10" Type="http://schemas.openxmlformats.org/officeDocument/2006/relationships/tags" Target="../tags/tag351.xml"/><Relationship Id="rId19" Type="http://schemas.openxmlformats.org/officeDocument/2006/relationships/tags" Target="../tags/tag360.xml"/><Relationship Id="rId31" Type="http://schemas.openxmlformats.org/officeDocument/2006/relationships/image" Target="../media/image8.jpeg"/><Relationship Id="rId4" Type="http://schemas.openxmlformats.org/officeDocument/2006/relationships/slideLayout" Target="../slideLayouts/slideLayout54.xml"/><Relationship Id="rId9" Type="http://schemas.openxmlformats.org/officeDocument/2006/relationships/vmlDrawing" Target="../drawings/vmlDrawing24.vml"/><Relationship Id="rId14" Type="http://schemas.openxmlformats.org/officeDocument/2006/relationships/tags" Target="../tags/tag355.xml"/><Relationship Id="rId22" Type="http://schemas.openxmlformats.org/officeDocument/2006/relationships/tags" Target="../tags/tag363.xml"/><Relationship Id="rId27" Type="http://schemas.openxmlformats.org/officeDocument/2006/relationships/tags" Target="../tags/tag368.xml"/><Relationship Id="rId30" Type="http://schemas.openxmlformats.org/officeDocument/2006/relationships/image" Target="../media/image7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4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9575" y="577850"/>
            <a:ext cx="8482013" cy="877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r-CA" dirty="0" smtClean="0"/>
              <a:t>Cliquez pour modifier le style du titre</a:t>
            </a:r>
          </a:p>
        </p:txBody>
      </p:sp>
      <p:sp>
        <p:nvSpPr>
          <p:cNvPr id="11294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9136" y="1779587"/>
            <a:ext cx="8482452" cy="4718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 dirty="0" smtClean="0"/>
              <a:t>Cliquez pour modifier les styles du texte du masque</a:t>
            </a:r>
          </a:p>
          <a:p>
            <a:pPr lvl="1"/>
            <a:r>
              <a:rPr lang="fr-CA" dirty="0" smtClean="0"/>
              <a:t>Deuxième niveau</a:t>
            </a:r>
          </a:p>
          <a:p>
            <a:pPr lvl="2"/>
            <a:r>
              <a:rPr lang="fr-CA" dirty="0" smtClean="0"/>
              <a:t>Troisième niveau</a:t>
            </a:r>
          </a:p>
          <a:p>
            <a:pPr lvl="3"/>
            <a:r>
              <a:rPr lang="fr-CA" dirty="0" smtClean="0"/>
              <a:t>Quatrième niveau</a:t>
            </a:r>
          </a:p>
          <a:p>
            <a:pPr lvl="4"/>
            <a:r>
              <a:rPr lang="fr-CA" dirty="0" smtClean="0"/>
              <a:t>Cinquième niveau</a:t>
            </a:r>
          </a:p>
        </p:txBody>
      </p:sp>
      <p:sp>
        <p:nvSpPr>
          <p:cNvPr id="112947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94756" y="6505574"/>
            <a:ext cx="596832" cy="3557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34" tIns="45618" rIns="91234" bIns="45618" numCol="1" anchor="t" anchorCtr="0" compatLnSpc="1">
            <a:prstTxWarp prst="textNoShape">
              <a:avLst/>
            </a:prstTxWarp>
          </a:bodyPr>
          <a:lstStyle>
            <a:lvl1pPr algn="r">
              <a:defRPr lang="fr-CA" sz="1400" b="0" kern="1200">
                <a:solidFill>
                  <a:schemeClr val="bg1">
                    <a:lumMod val="50000"/>
                  </a:schemeClr>
                </a:solidFill>
                <a:latin typeface="Arial" charset="0"/>
                <a:ea typeface="+mn-ea"/>
                <a:cs typeface="+mn-cs"/>
              </a:defRPr>
            </a:lvl1pPr>
          </a:lstStyle>
          <a:p>
            <a:fld id="{77F59921-B11C-4899-8BBE-5971739B1201}" type="slidenum">
              <a:rPr lang="fr-CA" smtClean="0"/>
              <a:pPr/>
              <a:t>‹N°›</a:t>
            </a:fld>
            <a:endParaRPr lang="fr-C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94" r:id="rId2"/>
    <p:sldLayoutId id="2147483695" r:id="rId3"/>
    <p:sldLayoutId id="2147483675" r:id="rId4"/>
    <p:sldLayoutId id="2147483677" r:id="rId5"/>
    <p:sldLayoutId id="2147483679" r:id="rId6"/>
    <p:sldLayoutId id="2147483680" r:id="rId7"/>
    <p:sldLayoutId id="2147483698" r:id="rId8"/>
    <p:sldLayoutId id="214748377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294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294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11294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4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1294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4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294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4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294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4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294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4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94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9474" grpId="0"/>
      <p:bldP spid="1129475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94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9475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94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9475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94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9475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94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9475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94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947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ftr="0" dt="0"/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sz="3400" b="0">
          <a:solidFill>
            <a:schemeClr val="accent2"/>
          </a:solidFill>
          <a:latin typeface="+mj-lt"/>
          <a:ea typeface="+mj-ea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5pPr>
      <a:lvl6pPr marL="457026"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6pPr>
      <a:lvl7pPr marL="914051"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7pPr>
      <a:lvl8pPr marL="1371077"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8pPr>
      <a:lvl9pPr marL="1828102" algn="l" rtl="0" fontAlgn="base">
        <a:lnSpc>
          <a:spcPct val="80000"/>
        </a:lnSpc>
        <a:spcBef>
          <a:spcPct val="0"/>
        </a:spcBef>
        <a:spcAft>
          <a:spcPct val="0"/>
        </a:spcAft>
        <a:defRPr sz="34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71359" indent="-271359" algn="l" rtl="0" fontAlgn="base">
        <a:lnSpc>
          <a:spcPct val="95000"/>
        </a:lnSpc>
        <a:spcBef>
          <a:spcPct val="0"/>
        </a:spcBef>
        <a:spcAft>
          <a:spcPts val="1200"/>
        </a:spcAft>
        <a:buClr>
          <a:schemeClr val="accent1"/>
        </a:buClr>
        <a:buFont typeface="Wingdings" pitchFamily="2" charset="2"/>
        <a:buChar char="§"/>
        <a:defRPr sz="2400">
          <a:solidFill>
            <a:srgbClr val="4D4D4D"/>
          </a:solidFill>
          <a:latin typeface="+mn-lt"/>
          <a:ea typeface="+mn-ea"/>
          <a:cs typeface="+mn-cs"/>
        </a:defRPr>
      </a:lvl1pPr>
      <a:lvl2pPr marL="680869" indent="-229956" algn="l" rtl="0" fontAlgn="base">
        <a:lnSpc>
          <a:spcPct val="95000"/>
        </a:lnSpc>
        <a:spcBef>
          <a:spcPct val="0"/>
        </a:spcBef>
        <a:spcAft>
          <a:spcPts val="1200"/>
        </a:spcAft>
        <a:buClr>
          <a:schemeClr val="accent2"/>
        </a:buClr>
        <a:buFont typeface="Wingdings" pitchFamily="2" charset="2"/>
        <a:buChar char="§"/>
        <a:defRPr sz="2000">
          <a:solidFill>
            <a:srgbClr val="4D4D4D"/>
          </a:solidFill>
          <a:latin typeface="+mn-lt"/>
          <a:cs typeface="+mn-cs"/>
        </a:defRPr>
      </a:lvl2pPr>
      <a:lvl3pPr marL="1074793" indent="-174967" algn="l" rtl="0" fontAlgn="base">
        <a:lnSpc>
          <a:spcPct val="95000"/>
        </a:lnSpc>
        <a:spcBef>
          <a:spcPct val="0"/>
        </a:spcBef>
        <a:spcAft>
          <a:spcPts val="1200"/>
        </a:spcAft>
        <a:buClr>
          <a:schemeClr val="hlink"/>
        </a:buClr>
        <a:buFont typeface="Wingdings" pitchFamily="2" charset="2"/>
        <a:buChar char="§"/>
        <a:defRPr sz="1800">
          <a:solidFill>
            <a:srgbClr val="4D4D4D"/>
          </a:solidFill>
          <a:latin typeface="+mn-lt"/>
          <a:cs typeface="+mn-cs"/>
        </a:defRPr>
      </a:lvl3pPr>
      <a:lvl4pPr marL="1579696" indent="-171967" algn="l" rtl="0" fontAlgn="base">
        <a:lnSpc>
          <a:spcPct val="95000"/>
        </a:lnSpc>
        <a:spcBef>
          <a:spcPct val="0"/>
        </a:spcBef>
        <a:spcAft>
          <a:spcPts val="1200"/>
        </a:spcAft>
        <a:buClr>
          <a:schemeClr val="folHlink"/>
        </a:buClr>
        <a:buFont typeface="Wingdings" pitchFamily="2" charset="2"/>
        <a:buChar char="§"/>
        <a:defRPr sz="1600">
          <a:solidFill>
            <a:srgbClr val="4D4D4D"/>
          </a:solidFill>
          <a:latin typeface="+mn-lt"/>
          <a:cs typeface="+mn-cs"/>
        </a:defRPr>
      </a:lvl4pPr>
      <a:lvl5pPr marL="1973620" indent="-144972" algn="l" rtl="0" fontAlgn="base">
        <a:lnSpc>
          <a:spcPct val="95000"/>
        </a:lnSpc>
        <a:spcBef>
          <a:spcPct val="0"/>
        </a:spcBef>
        <a:spcAft>
          <a:spcPts val="120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rgbClr val="4D4D4D"/>
          </a:solidFill>
          <a:latin typeface="+mn-lt"/>
          <a:cs typeface="+mn-cs"/>
        </a:defRPr>
      </a:lvl5pPr>
      <a:lvl6pPr marL="2512054" indent="-226926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•"/>
        <a:defRPr>
          <a:solidFill>
            <a:srgbClr val="4D4D4D"/>
          </a:solidFill>
          <a:latin typeface="+mn-lt"/>
          <a:cs typeface="+mn-cs"/>
        </a:defRPr>
      </a:lvl6pPr>
      <a:lvl7pPr marL="2969080" indent="-226926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•"/>
        <a:defRPr>
          <a:solidFill>
            <a:srgbClr val="4D4D4D"/>
          </a:solidFill>
          <a:latin typeface="+mn-lt"/>
          <a:cs typeface="+mn-cs"/>
        </a:defRPr>
      </a:lvl7pPr>
      <a:lvl8pPr marL="3426106" indent="-226926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•"/>
        <a:defRPr>
          <a:solidFill>
            <a:srgbClr val="4D4D4D"/>
          </a:solidFill>
          <a:latin typeface="+mn-lt"/>
          <a:cs typeface="+mn-cs"/>
        </a:defRPr>
      </a:lvl8pPr>
      <a:lvl9pPr marL="3883131" indent="-226926" algn="l" rtl="0" fontAlgn="base">
        <a:lnSpc>
          <a:spcPct val="95000"/>
        </a:lnSpc>
        <a:spcBef>
          <a:spcPct val="0"/>
        </a:spcBef>
        <a:spcAft>
          <a:spcPct val="0"/>
        </a:spcAft>
        <a:buClr>
          <a:schemeClr val="tx2"/>
        </a:buClr>
        <a:buChar char="•"/>
        <a:defRPr>
          <a:solidFill>
            <a:srgbClr val="4D4D4D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26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51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77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02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28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54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79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05" algn="l" defTabSz="9140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6" y="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17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" y="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23592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1843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6494" y="2508250"/>
            <a:ext cx="43910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smtClean="0"/>
              <a:t>Text</a:t>
            </a:r>
          </a:p>
        </p:txBody>
      </p:sp>
      <p:sp>
        <p:nvSpPr>
          <p:cNvPr id="1843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5575" y="250831"/>
            <a:ext cx="8872538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smtClean="0"/>
              <a:t>Click to edit Master title style</a:t>
            </a:r>
          </a:p>
        </p:txBody>
      </p:sp>
      <p:sp>
        <p:nvSpPr>
          <p:cNvPr id="18440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5575" y="60801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18442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8494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8443" name="ACET" hidden="1"/>
          <p:cNvGrpSpPr>
            <a:grpSpLocks/>
          </p:cNvGrpSpPr>
          <p:nvPr/>
        </p:nvGrpSpPr>
        <p:grpSpPr bwMode="auto">
          <a:xfrm>
            <a:off x="2376494" y="1935346"/>
            <a:ext cx="4391025" cy="511000"/>
            <a:chOff x="915" y="715"/>
            <a:chExt cx="2686" cy="315"/>
          </a:xfrm>
        </p:grpSpPr>
        <p:cxnSp>
          <p:nvCxnSpPr>
            <p:cNvPr id="18491" name="AutoShape 249"/>
            <p:cNvCxnSpPr>
              <a:cxnSpLocks noChangeShapeType="1"/>
              <a:stCxn id="18492" idx="4"/>
              <a:endCxn id="1849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492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8444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848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18445" name="LegendLines" hidden="1"/>
          <p:cNvGrpSpPr>
            <a:grpSpLocks/>
          </p:cNvGrpSpPr>
          <p:nvPr/>
        </p:nvGrpSpPr>
        <p:grpSpPr bwMode="auto">
          <a:xfrm>
            <a:off x="7956556" y="319088"/>
            <a:ext cx="1071563" cy="730250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18446" name="McKSticker" hidden="1"/>
          <p:cNvGrpSpPr>
            <a:grpSpLocks/>
          </p:cNvGrpSpPr>
          <p:nvPr/>
        </p:nvGrpSpPr>
        <p:grpSpPr bwMode="auto">
          <a:xfrm>
            <a:off x="7961216" y="319089"/>
            <a:ext cx="1066895" cy="212366"/>
            <a:chOff x="7673785" y="285750"/>
            <a:chExt cx="1066990" cy="212008"/>
          </a:xfrm>
        </p:grpSpPr>
        <p:sp>
          <p:nvSpPr>
            <p:cNvPr id="18474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18475" name="AutoShape 31"/>
            <p:cNvCxnSpPr>
              <a:cxnSpLocks noChangeShapeType="1"/>
              <a:stCxn id="18474" idx="2"/>
              <a:endCxn id="18474" idx="4"/>
            </p:cNvCxnSpPr>
            <p:nvPr/>
          </p:nvCxnSpPr>
          <p:spPr bwMode="auto">
            <a:xfrm>
              <a:off x="7673785" y="285750"/>
              <a:ext cx="0" cy="2120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476" name="AutoShape 32"/>
            <p:cNvCxnSpPr>
              <a:cxnSpLocks noChangeShapeType="1"/>
              <a:stCxn id="18474" idx="4"/>
              <a:endCxn id="18474" idx="6"/>
            </p:cNvCxnSpPr>
            <p:nvPr/>
          </p:nvCxnSpPr>
          <p:spPr bwMode="auto">
            <a:xfrm>
              <a:off x="7673785" y="497758"/>
              <a:ext cx="106699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8447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44" name="Oval 90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5" name="Arc 91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1844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18452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3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4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5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6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18457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6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58" name="MoonLegend2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59" name="MoonLegend3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60" name="MoonLegend4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61" name="MoonLegend5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1844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8450" name="Image 8" descr="LOGO_COOP_PMS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8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5FCDD33-F38D-42D1-91F2-3C39A628BCDA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827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33" rtl="0" eaLnBrk="0" fontAlgn="base" hangingPunct="0">
        <a:spcBef>
          <a:spcPct val="0"/>
        </a:spcBef>
        <a:spcAft>
          <a:spcPct val="0"/>
        </a:spcAft>
        <a:tabLst>
          <a:tab pos="274554" algn="l"/>
        </a:tabLst>
        <a:defRPr sz="2300">
          <a:solidFill>
            <a:srgbClr val="00A66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2533" rtl="0" eaLnBrk="0" fontAlgn="base" hangingPunct="0">
        <a:spcBef>
          <a:spcPct val="0"/>
        </a:spcBef>
        <a:spcAft>
          <a:spcPct val="0"/>
        </a:spcAft>
        <a:tabLst>
          <a:tab pos="27455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912533" rtl="0" eaLnBrk="0" fontAlgn="base" hangingPunct="0">
        <a:spcBef>
          <a:spcPct val="0"/>
        </a:spcBef>
        <a:spcAft>
          <a:spcPct val="0"/>
        </a:spcAft>
        <a:tabLst>
          <a:tab pos="27455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912533" rtl="0" eaLnBrk="0" fontAlgn="base" hangingPunct="0">
        <a:spcBef>
          <a:spcPct val="0"/>
        </a:spcBef>
        <a:spcAft>
          <a:spcPct val="0"/>
        </a:spcAft>
        <a:tabLst>
          <a:tab pos="27455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912533" rtl="0" eaLnBrk="0" fontAlgn="base" hangingPunct="0">
        <a:spcBef>
          <a:spcPct val="0"/>
        </a:spcBef>
        <a:spcAft>
          <a:spcPct val="0"/>
        </a:spcAft>
        <a:tabLst>
          <a:tab pos="27455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66337" algn="l" defTabSz="9132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76" algn="l" defTabSz="9132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014" algn="l" defTabSz="9132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54" algn="l" defTabSz="91324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53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6790" indent="-195203" algn="l" defTabSz="91253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4994" indent="-266618" algn="l" defTabSz="91253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5283" indent="-157115" algn="l" defTabSz="91253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3354" indent="-131722" algn="l" defTabSz="91253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795" indent="-132776" algn="l" defTabSz="9132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95" indent="-132776" algn="l" defTabSz="9132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95" indent="-132776" algn="l" defTabSz="9132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95" indent="-132776" algn="l" defTabSz="9132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7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76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14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54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90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029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66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703" algn="l" defTabSz="9326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60350"/>
            <a:ext cx="84359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6" rIns="91430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CA" alt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585913"/>
            <a:ext cx="8435975" cy="4687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 altLang="fr-FR" smtClean="0"/>
              <a:t>Cliquez pour modifier les styles du texte du masque</a:t>
            </a:r>
          </a:p>
          <a:p>
            <a:pPr lvl="1"/>
            <a:r>
              <a:rPr lang="fr-CA" altLang="fr-FR" smtClean="0"/>
              <a:t>Deuxième niveau</a:t>
            </a:r>
          </a:p>
          <a:p>
            <a:pPr lvl="2"/>
            <a:r>
              <a:rPr lang="fr-CA" altLang="fr-FR" smtClean="0"/>
              <a:t>Troisième niveau</a:t>
            </a:r>
          </a:p>
          <a:p>
            <a:pPr lvl="3"/>
            <a:r>
              <a:rPr lang="fr-CA" altLang="fr-FR" smtClean="0"/>
              <a:t>Quatrième niveau</a:t>
            </a:r>
          </a:p>
          <a:p>
            <a:pPr lvl="4"/>
            <a:r>
              <a:rPr lang="fr-CA" altLang="fr-FR" smtClean="0"/>
              <a:t>Cinquième niveau</a:t>
            </a:r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61138"/>
            <a:ext cx="2133600" cy="296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30" tIns="45716" rIns="91430" bIns="45716" numCol="1" anchor="t" anchorCtr="0" compatLnSpc="1">
            <a:prstTxWarp prst="textNoShape">
              <a:avLst/>
            </a:prstTxWarp>
          </a:bodyPr>
          <a:lstStyle>
            <a:lvl1pPr>
              <a:defRPr sz="1400" b="1">
                <a:solidFill>
                  <a:schemeClr val="accent1"/>
                </a:solidFill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A1E3683A-BCE3-422C-9751-FC5C3FF4DD90}" type="slidenum">
              <a:rPr lang="fr-CA">
                <a:solidFill>
                  <a:srgbClr val="A59E8F"/>
                </a:solidFill>
              </a:rPr>
              <a:pPr>
                <a:defRPr/>
              </a:pPr>
              <a:t>‹N°›</a:t>
            </a:fld>
            <a:endParaRPr lang="fr-CA" dirty="0">
              <a:solidFill>
                <a:srgbClr val="A59E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42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</p:sldLayoutIdLst>
  <p:transition>
    <p:randomBar/>
  </p:transition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5pPr>
      <a:lvl6pPr marL="457154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6pPr>
      <a:lvl7pPr marL="914306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7pPr>
      <a:lvl8pPr marL="137146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8pPr>
      <a:lvl9pPr marL="1828613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rgbClr val="008B4B"/>
          </a:solidFill>
          <a:latin typeface="Arial" charset="0"/>
          <a:ea typeface="MS PGothic" pitchFamily="34" charset="-128"/>
          <a:cs typeface="Arial" charset="0"/>
        </a:defRPr>
      </a:lvl9pPr>
    </p:titleStyle>
    <p:bodyStyle>
      <a:lvl1pPr marL="269875" indent="-269875" algn="l" defTabSz="793750" rtl="0" eaLnBrk="0" fontAlgn="base" hangingPunct="0">
        <a:lnSpc>
          <a:spcPct val="95000"/>
        </a:lnSpc>
        <a:spcBef>
          <a:spcPct val="0"/>
        </a:spcBef>
        <a:spcAft>
          <a:spcPct val="60000"/>
        </a:spcAft>
        <a:buClr>
          <a:schemeClr val="tx2"/>
        </a:buClr>
        <a:buSzPct val="120000"/>
        <a:buFont typeface="Wingdings" pitchFamily="2" charset="2"/>
        <a:buChar char="§"/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741363" indent="-284163" algn="l" defTabSz="793750" rtl="0" eaLnBrk="0" fontAlgn="base" hangingPunct="0">
        <a:lnSpc>
          <a:spcPct val="95000"/>
        </a:lnSpc>
        <a:spcBef>
          <a:spcPct val="0"/>
        </a:spcBef>
        <a:spcAft>
          <a:spcPct val="50000"/>
        </a:spcAft>
        <a:buClr>
          <a:schemeClr val="tx2"/>
        </a:buClr>
        <a:buSzPct val="120000"/>
        <a:buChar char="•"/>
        <a:defRPr sz="2600">
          <a:solidFill>
            <a:schemeClr val="accent2"/>
          </a:solidFill>
          <a:latin typeface="+mn-lt"/>
          <a:ea typeface="+mn-ea"/>
          <a:cs typeface="+mn-cs"/>
        </a:defRPr>
      </a:lvl2pPr>
      <a:lvl3pPr marL="1141413" indent="-227013" algn="l" defTabSz="793750" rtl="0" eaLnBrk="0" fontAlgn="base" hangingPunct="0">
        <a:lnSpc>
          <a:spcPct val="95000"/>
        </a:lnSpc>
        <a:spcBef>
          <a:spcPct val="0"/>
        </a:spcBef>
        <a:spcAft>
          <a:spcPct val="40000"/>
        </a:spcAft>
        <a:buClr>
          <a:schemeClr val="tx2"/>
        </a:buClr>
        <a:buSzPct val="120000"/>
        <a:buFont typeface="Arial" pitchFamily="34" charset="0"/>
        <a:buChar char="–"/>
        <a:defRPr sz="2400">
          <a:solidFill>
            <a:schemeClr val="accent2"/>
          </a:solidFill>
          <a:latin typeface="+mn-lt"/>
          <a:ea typeface="+mn-ea"/>
          <a:cs typeface="+mn-cs"/>
        </a:defRPr>
      </a:lvl3pPr>
      <a:lvl4pPr marL="1598613" indent="-227013" algn="l" defTabSz="793750" rtl="0" eaLnBrk="0" fontAlgn="base" hangingPunct="0">
        <a:lnSpc>
          <a:spcPct val="95000"/>
        </a:lnSpc>
        <a:spcBef>
          <a:spcPct val="0"/>
        </a:spcBef>
        <a:spcAft>
          <a:spcPct val="30000"/>
        </a:spcAft>
        <a:buClr>
          <a:schemeClr val="tx2"/>
        </a:buClr>
        <a:buSzPct val="120000"/>
        <a:buFont typeface="Wingdings" pitchFamily="2" charset="2"/>
        <a:buChar char="§"/>
        <a:defRPr sz="2200">
          <a:solidFill>
            <a:schemeClr val="accent2"/>
          </a:solidFill>
          <a:latin typeface="+mn-lt"/>
          <a:ea typeface="+mn-ea"/>
          <a:cs typeface="+mn-cs"/>
        </a:defRPr>
      </a:lvl4pPr>
      <a:lvl5pPr marL="2055813" indent="-227013" algn="l" defTabSz="793750" rtl="0" eaLnBrk="0" fontAlgn="base" hangingPunct="0">
        <a:lnSpc>
          <a:spcPct val="95000"/>
        </a:lnSpc>
        <a:spcBef>
          <a:spcPct val="0"/>
        </a:spcBef>
        <a:spcAft>
          <a:spcPct val="20000"/>
        </a:spcAft>
        <a:buClr>
          <a:schemeClr val="tx2"/>
        </a:buClr>
        <a:buSzPct val="120000"/>
        <a:buChar char="•"/>
        <a:defRPr sz="2000">
          <a:solidFill>
            <a:schemeClr val="accent2"/>
          </a:solidFill>
          <a:latin typeface="+mn-lt"/>
          <a:ea typeface="+mn-ea"/>
          <a:cs typeface="+mn-cs"/>
        </a:defRPr>
      </a:lvl5pPr>
      <a:lvl6pPr marL="2514343" indent="-228576" algn="l" defTabSz="795257" rtl="0" fontAlgn="base">
        <a:lnSpc>
          <a:spcPct val="95000"/>
        </a:lnSpc>
        <a:spcBef>
          <a:spcPct val="0"/>
        </a:spcBef>
        <a:spcAft>
          <a:spcPct val="20000"/>
        </a:spcAft>
        <a:buClr>
          <a:schemeClr val="tx2"/>
        </a:buClr>
        <a:buSzPct val="120000"/>
        <a:buChar char="•"/>
        <a:defRPr sz="2000">
          <a:solidFill>
            <a:schemeClr val="accent2"/>
          </a:solidFill>
          <a:latin typeface="+mn-lt"/>
          <a:ea typeface="+mn-ea"/>
          <a:cs typeface="+mn-cs"/>
        </a:defRPr>
      </a:lvl6pPr>
      <a:lvl7pPr marL="2971496" indent="-228576" algn="l" defTabSz="795257" rtl="0" fontAlgn="base">
        <a:lnSpc>
          <a:spcPct val="95000"/>
        </a:lnSpc>
        <a:spcBef>
          <a:spcPct val="0"/>
        </a:spcBef>
        <a:spcAft>
          <a:spcPct val="20000"/>
        </a:spcAft>
        <a:buClr>
          <a:schemeClr val="tx2"/>
        </a:buClr>
        <a:buSzPct val="120000"/>
        <a:buChar char="•"/>
        <a:defRPr sz="2000">
          <a:solidFill>
            <a:schemeClr val="accent2"/>
          </a:solidFill>
          <a:latin typeface="+mn-lt"/>
          <a:ea typeface="+mn-ea"/>
          <a:cs typeface="+mn-cs"/>
        </a:defRPr>
      </a:lvl7pPr>
      <a:lvl8pPr marL="3428650" indent="-228576" algn="l" defTabSz="795257" rtl="0" fontAlgn="base">
        <a:lnSpc>
          <a:spcPct val="95000"/>
        </a:lnSpc>
        <a:spcBef>
          <a:spcPct val="0"/>
        </a:spcBef>
        <a:spcAft>
          <a:spcPct val="20000"/>
        </a:spcAft>
        <a:buClr>
          <a:schemeClr val="tx2"/>
        </a:buClr>
        <a:buSzPct val="120000"/>
        <a:buChar char="•"/>
        <a:defRPr sz="2000">
          <a:solidFill>
            <a:schemeClr val="accent2"/>
          </a:solidFill>
          <a:latin typeface="+mn-lt"/>
          <a:ea typeface="+mn-ea"/>
          <a:cs typeface="+mn-cs"/>
        </a:defRPr>
      </a:lvl8pPr>
      <a:lvl9pPr marL="3885802" indent="-228576" algn="l" defTabSz="795257" rtl="0" fontAlgn="base">
        <a:lnSpc>
          <a:spcPct val="95000"/>
        </a:lnSpc>
        <a:spcBef>
          <a:spcPct val="0"/>
        </a:spcBef>
        <a:spcAft>
          <a:spcPct val="20000"/>
        </a:spcAft>
        <a:buClr>
          <a:schemeClr val="tx2"/>
        </a:buClr>
        <a:buSzPct val="120000"/>
        <a:buChar char="•"/>
        <a:defRPr sz="20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3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0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2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6" algn="l" defTabSz="9143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0" name="Diapositive think-cell" r:id="rId27" imgW="360" imgH="360" progId="TCLayout.ActiveDocument.1">
                  <p:embed/>
                </p:oleObj>
              </mc:Choice>
              <mc:Fallback>
                <p:oleObj name="Diapositive think-cell" r:id="rId2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6488" y="2508250"/>
            <a:ext cx="4391025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A" altLang="fr-FR" smtClean="0"/>
              <a:t>Text</a:t>
            </a:r>
          </a:p>
        </p:txBody>
      </p:sp>
      <p:sp>
        <p:nvSpPr>
          <p:cNvPr id="512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5575" y="250825"/>
            <a:ext cx="8872538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A" altLang="fr-FR" smtClean="0"/>
              <a:t>Modifiez le style du titre</a:t>
            </a:r>
          </a:p>
        </p:txBody>
      </p:sp>
      <p:sp>
        <p:nvSpPr>
          <p:cNvPr id="5125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fr-CA" altLang="fr-FR" sz="140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CA" sz="1600" smtClean="0">
                <a:solidFill>
                  <a:srgbClr val="808080"/>
                </a:solidFill>
                <a:latin typeface="Arial"/>
              </a:rPr>
              <a:t>Unit of measure</a:t>
            </a:r>
            <a:endParaRPr lang="fr-CA" sz="1600" dirty="0" smtClean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5127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CA" sz="1000" smtClean="0">
                  <a:solidFill>
                    <a:srgbClr val="000000"/>
                  </a:solidFill>
                  <a:latin typeface="Arial"/>
                </a:rPr>
                <a:t>1 Footnote</a:t>
              </a:r>
              <a:endParaRPr lang="fr-CA" sz="1000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78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00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5128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5175" name="AutoShape 249"/>
            <p:cNvCxnSpPr>
              <a:cxnSpLocks noChangeShapeType="1"/>
              <a:stCxn id="5176" idx="4"/>
              <a:endCxn id="5176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7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fr-CA" altLang="fr-FR" sz="1600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fr-CA" altLang="fr-FR" sz="16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5129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516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6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516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7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517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7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517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7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5130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16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6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6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131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5158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159" name="AutoShape 31"/>
            <p:cNvCxnSpPr>
              <a:cxnSpLocks noChangeShapeType="1"/>
              <a:stCxn id="5158" idx="2"/>
              <a:endCxn id="5158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60" name="AutoShape 32"/>
            <p:cNvCxnSpPr>
              <a:cxnSpLocks noChangeShapeType="1"/>
              <a:stCxn id="5158" idx="4"/>
              <a:endCxn id="5158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32" name="McK 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44" name="Oval 90"/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5" name="Arc 91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fr-CA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5133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5136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37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38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39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40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fr-CA" altLang="fr-FR" sz="12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141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65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6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142" name="MoonLegend2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143" name="MoonLegend3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144" name="MoonLegend4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5145" name="MoonLegend5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fr-CA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cxnSp>
        <p:nvCxnSpPr>
          <p:cNvPr id="5134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5135" name="Image 8" descr="LOGO_COOP_PMS.jpg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528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66433" algn="l" defTabSz="9134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7" algn="l" defTabSz="9134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9" algn="l" defTabSz="9134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34" algn="l" defTabSz="91343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951" indent="-132804" algn="l" defTabSz="9134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51" indent="-132804" algn="l" defTabSz="9134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51" indent="-132804" algn="l" defTabSz="9134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51" indent="-132804" algn="l" defTabSz="91343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3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7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9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34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68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601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34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67" algn="l" defTabSz="9328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24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doc id"/>
          <p:cNvSpPr>
            <a:spLocks noChangeArrowheads="1"/>
          </p:cNvSpPr>
          <p:nvPr/>
        </p:nvSpPr>
        <p:spPr bwMode="auto">
          <a:xfrm>
            <a:off x="8358188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altLang="fr-FR" sz="800" smtClean="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24032" y="2240756"/>
            <a:ext cx="1897062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0531" y="4458494"/>
            <a:ext cx="2024063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charset="0"/>
            </a:endParaRPr>
          </a:p>
        </p:txBody>
      </p:sp>
      <p:sp>
        <p:nvSpPr>
          <p:cNvPr id="615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6488" y="2508250"/>
            <a:ext cx="4391025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smtClean="0"/>
              <a:t>Text</a:t>
            </a:r>
          </a:p>
        </p:txBody>
      </p:sp>
      <p:sp>
        <p:nvSpPr>
          <p:cNvPr id="615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5575" y="250825"/>
            <a:ext cx="8872538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smtClean="0"/>
              <a:t>Click to edit Master title style</a:t>
            </a:r>
          </a:p>
        </p:txBody>
      </p:sp>
      <p:sp>
        <p:nvSpPr>
          <p:cNvPr id="6152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sym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5575" y="608013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charset="0"/>
              </a:rPr>
              <a:t>Unit of measure</a:t>
            </a:r>
          </a:p>
        </p:txBody>
      </p:sp>
      <p:grpSp>
        <p:nvGrpSpPr>
          <p:cNvPr id="6154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charset="0"/>
                </a:rPr>
                <a:t>1 Footnote</a:t>
              </a:r>
            </a:p>
          </p:txBody>
        </p:sp>
        <p:sp>
          <p:nvSpPr>
            <p:cNvPr id="6206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8313" indent="-468313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7838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6155" name="ACET" hidden="1"/>
          <p:cNvGrpSpPr>
            <a:grpSpLocks/>
          </p:cNvGrpSpPr>
          <p:nvPr/>
        </p:nvGrpSpPr>
        <p:grpSpPr bwMode="auto">
          <a:xfrm>
            <a:off x="2376488" y="1927225"/>
            <a:ext cx="4391025" cy="519113"/>
            <a:chOff x="915" y="710"/>
            <a:chExt cx="2686" cy="320"/>
          </a:xfrm>
        </p:grpSpPr>
        <p:cxnSp>
          <p:nvCxnSpPr>
            <p:cNvPr id="6203" name="AutoShape 249"/>
            <p:cNvCxnSpPr>
              <a:cxnSpLocks noChangeShapeType="1"/>
              <a:stCxn id="6204" idx="4"/>
              <a:endCxn id="620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20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600" b="1" smtClean="0">
                  <a:solidFill>
                    <a:srgbClr val="000000"/>
                  </a:solidFill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z="1600" smtClean="0">
                  <a:solidFill>
                    <a:srgbClr val="808080"/>
                  </a:solidFill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6156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619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9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619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9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619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20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  <p:sp>
          <p:nvSpPr>
            <p:cNvPr id="620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20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fr-FR" sz="1200" smtClean="0">
                <a:solidFill>
                  <a:srgbClr val="000000"/>
                </a:solidFill>
                <a:sym typeface="Arial" pitchFamily="34" charset="0"/>
              </a:endParaRPr>
            </a:p>
          </p:txBody>
        </p:sp>
      </p:grpSp>
      <p:grpSp>
        <p:nvGrpSpPr>
          <p:cNvPr id="6157" name="LegendLines" hidden="1"/>
          <p:cNvGrpSpPr>
            <a:grpSpLocks/>
          </p:cNvGrpSpPr>
          <p:nvPr/>
        </p:nvGrpSpPr>
        <p:grpSpPr bwMode="auto">
          <a:xfrm>
            <a:off x="7956550" y="319088"/>
            <a:ext cx="1071563" cy="730250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619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9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9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6158" name="McKSticker" hidden="1"/>
          <p:cNvGrpSpPr>
            <a:grpSpLocks/>
          </p:cNvGrpSpPr>
          <p:nvPr/>
        </p:nvGrpSpPr>
        <p:grpSpPr bwMode="auto">
          <a:xfrm>
            <a:off x="7961313" y="319088"/>
            <a:ext cx="1066800" cy="212725"/>
            <a:chOff x="7673880" y="285750"/>
            <a:chExt cx="1066895" cy="212366"/>
          </a:xfrm>
        </p:grpSpPr>
        <p:sp>
          <p:nvSpPr>
            <p:cNvPr id="618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6187" name="AutoShape 31"/>
            <p:cNvCxnSpPr>
              <a:cxnSpLocks noChangeShapeType="1"/>
              <a:stCxn id="6186" idx="2"/>
              <a:endCxn id="6186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8" name="AutoShape 32"/>
            <p:cNvCxnSpPr>
              <a:cxnSpLocks noChangeShapeType="1"/>
              <a:stCxn id="6186" idx="4"/>
              <a:endCxn id="6186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59" name="McK 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44" name="Oval 90"/>
            <p:cNvSpPr>
              <a:spLocks noChangeAspect="1"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  <p:sp>
          <p:nvSpPr>
            <p:cNvPr id="45" name="Arc 91"/>
            <p:cNvSpPr>
              <a:spLocks noChangeAspect="1"/>
            </p:cNvSpPr>
            <p:nvPr>
              <p:custDataLst>
                <p:tags r:id="rId2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sym typeface="Arial" charset="0"/>
              </a:endParaRPr>
            </a:p>
          </p:txBody>
        </p:sp>
      </p:grpSp>
      <p:grpSp>
        <p:nvGrpSpPr>
          <p:cNvPr id="6160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6164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65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66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67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sp>
          <p:nvSpPr>
            <p:cNvPr id="6168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3763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sym typeface="Arial" pitchFamily="34" charset="0"/>
                </a:rPr>
                <a:t>Legend</a:t>
              </a:r>
            </a:p>
          </p:txBody>
        </p:sp>
        <p:grpSp>
          <p:nvGrpSpPr>
            <p:cNvPr id="616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65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66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6170" name="MoonLegend2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6171" name="MoonLegend3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6172" name="MoonLegend4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  <p:grpSp>
          <p:nvGrpSpPr>
            <p:cNvPr id="6173" name="MoonLegend5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sym typeface="Arial" charset="0"/>
                </a:endParaRPr>
              </a:p>
            </p:txBody>
          </p:sp>
        </p:grpSp>
      </p:grpSp>
      <p:cxnSp>
        <p:nvCxnSpPr>
          <p:cNvPr id="6161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162" name="Image 8" descr="LOGO_COOP_PMS.jpg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75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Slide Number"/>
          <p:cNvSpPr txBox="1">
            <a:spLocks/>
          </p:cNvSpPr>
          <p:nvPr userDrawn="1"/>
        </p:nvSpPr>
        <p:spPr bwMode="auto">
          <a:xfrm>
            <a:off x="8797925" y="6591300"/>
            <a:ext cx="230188" cy="1539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6C62DBF2-21ED-493A-9057-FD8596DEF73D}" type="slidenum">
              <a:rPr lang="en-US" smtClean="0">
                <a:solidFill>
                  <a:srgbClr val="777777"/>
                </a:solidFill>
                <a:sym typeface="Arial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0707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66361" algn="l" defTabSz="91329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723" algn="l" defTabSz="91329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085" algn="l" defTabSz="91329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449" algn="l" defTabSz="91329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834" indent="-132783" algn="l" defTabSz="913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834" indent="-132783" algn="l" defTabSz="913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834" indent="-132783" algn="l" defTabSz="913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834" indent="-132783" algn="l" defTabSz="91329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61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23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85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49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09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72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33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94" algn="l" defTabSz="9327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7797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</p:sldLayoutIdLst>
  <p:transition>
    <p:fade/>
  </p:transition>
  <p:hf hdr="0" ftr="0" dt="0"/>
  <p:txStyles>
    <p:titleStyle>
      <a:lvl1pPr marL="40142" indent="-4014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+mj-lt"/>
          <a:ea typeface="+mj-ea"/>
          <a:cs typeface="+mj-cs"/>
          <a:sym typeface="Gotham-Medium" pitchFamily="88" charset="0"/>
        </a:defRPr>
      </a:lvl1pPr>
      <a:lvl2pPr marL="40142" indent="-4014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Arial" charset="0"/>
          <a:ea typeface="Geneva" pitchFamily="-108" charset="0"/>
          <a:cs typeface="Arial" charset="0"/>
          <a:sym typeface="Gotham-Medium" pitchFamily="88" charset="0"/>
        </a:defRPr>
      </a:lvl2pPr>
      <a:lvl3pPr marL="40142" indent="-4014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Arial" charset="0"/>
          <a:ea typeface="Geneva" pitchFamily="-108" charset="0"/>
          <a:cs typeface="Arial" charset="0"/>
          <a:sym typeface="Gotham-Medium" pitchFamily="88" charset="0"/>
        </a:defRPr>
      </a:lvl3pPr>
      <a:lvl4pPr marL="40142" indent="-4014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Arial" charset="0"/>
          <a:ea typeface="Geneva" pitchFamily="-108" charset="0"/>
          <a:cs typeface="Arial" charset="0"/>
          <a:sym typeface="Gotham-Medium" pitchFamily="88" charset="0"/>
        </a:defRPr>
      </a:lvl4pPr>
      <a:lvl5pPr marL="40142" indent="-4014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Arial" charset="0"/>
          <a:ea typeface="Geneva" pitchFamily="-108" charset="0"/>
          <a:cs typeface="Arial" charset="0"/>
          <a:sym typeface="Gotham-Medium" pitchFamily="88" charset="0"/>
        </a:defRPr>
      </a:lvl5pPr>
      <a:lvl6pPr marL="361261" indent="-40142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Verdana" pitchFamily="-108" charset="0"/>
          <a:ea typeface="Geneva" pitchFamily="-108" charset="0"/>
          <a:cs typeface="Geneva" pitchFamily="-108" charset="0"/>
          <a:sym typeface="Gotham-Medium" pitchFamily="88" charset="0"/>
        </a:defRPr>
      </a:lvl6pPr>
      <a:lvl7pPr marL="682397" indent="-40142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Verdana" pitchFamily="-108" charset="0"/>
          <a:ea typeface="Geneva" pitchFamily="-108" charset="0"/>
          <a:cs typeface="Geneva" pitchFamily="-108" charset="0"/>
          <a:sym typeface="Gotham-Medium" pitchFamily="88" charset="0"/>
        </a:defRPr>
      </a:lvl7pPr>
      <a:lvl8pPr marL="1003522" indent="-40142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Verdana" pitchFamily="-108" charset="0"/>
          <a:ea typeface="Geneva" pitchFamily="-108" charset="0"/>
          <a:cs typeface="Geneva" pitchFamily="-108" charset="0"/>
          <a:sym typeface="Gotham-Medium" pitchFamily="88" charset="0"/>
        </a:defRPr>
      </a:lvl8pPr>
      <a:lvl9pPr marL="1324651" indent="-40142" algn="l" rtl="0" fontAlgn="base">
        <a:lnSpc>
          <a:spcPct val="90000"/>
        </a:lnSpc>
        <a:spcBef>
          <a:spcPct val="0"/>
        </a:spcBef>
        <a:spcAft>
          <a:spcPct val="0"/>
        </a:spcAft>
        <a:defRPr sz="2500">
          <a:solidFill>
            <a:srgbClr val="008B4B"/>
          </a:solidFill>
          <a:latin typeface="Verdana" pitchFamily="-108" charset="0"/>
          <a:ea typeface="Geneva" pitchFamily="-108" charset="0"/>
          <a:cs typeface="Geneva" pitchFamily="-108" charset="0"/>
          <a:sym typeface="Gotham-Medium" pitchFamily="88" charset="0"/>
        </a:defRPr>
      </a:lvl9pPr>
    </p:titleStyle>
    <p:bodyStyle>
      <a:lvl1pPr marL="190672" indent="-190672" algn="l" defTabSz="558633" rtl="0" eaLnBrk="0" fontAlgn="base" hangingPunct="0">
        <a:lnSpc>
          <a:spcPct val="90000"/>
        </a:lnSpc>
        <a:spcBef>
          <a:spcPts val="914"/>
        </a:spcBef>
        <a:spcAft>
          <a:spcPct val="0"/>
        </a:spcAft>
        <a:buClr>
          <a:schemeClr val="tx2"/>
        </a:buClr>
        <a:buSzPct val="120000"/>
        <a:buFont typeface="Wingdings" pitchFamily="2" charset="2"/>
        <a:buChar char="§"/>
        <a:defRPr sz="2000">
          <a:solidFill>
            <a:srgbClr val="1C1C1C"/>
          </a:solidFill>
          <a:latin typeface="Arial" charset="0"/>
          <a:ea typeface="+mn-ea"/>
          <a:cs typeface="+mn-cs"/>
          <a:sym typeface="Gotham-Medium" pitchFamily="88" charset="0"/>
        </a:defRPr>
      </a:lvl1pPr>
      <a:lvl2pPr marL="499525" indent="-182864" algn="l" defTabSz="558633" rtl="0" eaLnBrk="0" fontAlgn="base" hangingPunct="0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Char char="•"/>
        <a:defRPr sz="2000">
          <a:solidFill>
            <a:srgbClr val="1C1C1C"/>
          </a:solidFill>
          <a:latin typeface="Arial" charset="0"/>
          <a:ea typeface="+mn-ea"/>
          <a:cs typeface="+mn-cs"/>
          <a:sym typeface="Gotham-Medium" pitchFamily="88" charset="0"/>
        </a:defRPr>
      </a:lvl2pPr>
      <a:lvl3pPr marL="761565" indent="-137149" algn="l" defTabSz="558633" rtl="0" eaLnBrk="0" fontAlgn="base" hangingPunct="0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SzPct val="85000"/>
        <a:buFont typeface="Wingdings" pitchFamily="2" charset="2"/>
        <a:buChar char="§"/>
        <a:defRPr sz="2000">
          <a:solidFill>
            <a:srgbClr val="1C1C1C"/>
          </a:solidFill>
          <a:latin typeface="Arial" charset="0"/>
          <a:ea typeface="+mn-ea"/>
          <a:cs typeface="+mn-cs"/>
          <a:sym typeface="Gotham-Book"/>
        </a:defRPr>
      </a:lvl3pPr>
      <a:lvl4pPr marL="1080463" indent="-133801" algn="l" defTabSz="558633" rtl="0" eaLnBrk="0" fontAlgn="base" hangingPunct="0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SzPct val="70000"/>
        <a:buChar char="•"/>
        <a:defRPr sz="2000">
          <a:solidFill>
            <a:srgbClr val="1C1C1C"/>
          </a:solidFill>
          <a:latin typeface="Arial" charset="0"/>
          <a:ea typeface="+mn-ea"/>
          <a:cs typeface="+mn-cs"/>
          <a:sym typeface="Gotham-Book"/>
        </a:defRPr>
      </a:lvl4pPr>
      <a:lvl5pPr marL="1310162" indent="-104815" algn="l" defTabSz="558633" rtl="0" eaLnBrk="0" fontAlgn="base" hangingPunct="0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SzPct val="80000"/>
        <a:buFont typeface="Wingdings" pitchFamily="2" charset="2"/>
        <a:buChar char="§"/>
        <a:defRPr sz="2000">
          <a:solidFill>
            <a:srgbClr val="1C1C1C"/>
          </a:solidFill>
          <a:latin typeface="Arial" charset="0"/>
          <a:ea typeface="+mn-ea"/>
          <a:cs typeface="+mn-cs"/>
          <a:sym typeface="Gotham-Book"/>
        </a:defRPr>
      </a:lvl5pPr>
      <a:lvl6pPr marL="1631292" indent="-104815" algn="l" defTabSz="558633" rtl="0" fontAlgn="base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SzPct val="80000"/>
        <a:buFont typeface="Wingdings" pitchFamily="-108" charset="2"/>
        <a:buChar char="§"/>
        <a:defRPr sz="1100">
          <a:solidFill>
            <a:srgbClr val="1C1C1C"/>
          </a:solidFill>
          <a:latin typeface="+mn-lt"/>
          <a:ea typeface="+mn-ea"/>
          <a:cs typeface="+mn-cs"/>
          <a:sym typeface="Gotham-Book" pitchFamily="-108" charset="0"/>
        </a:defRPr>
      </a:lvl6pPr>
      <a:lvl7pPr marL="1952416" indent="-104815" algn="l" defTabSz="558633" rtl="0" fontAlgn="base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SzPct val="80000"/>
        <a:buFont typeface="Wingdings" pitchFamily="-108" charset="2"/>
        <a:buChar char="§"/>
        <a:defRPr sz="1100">
          <a:solidFill>
            <a:srgbClr val="1C1C1C"/>
          </a:solidFill>
          <a:latin typeface="+mn-lt"/>
          <a:ea typeface="+mn-ea"/>
          <a:cs typeface="+mn-cs"/>
          <a:sym typeface="Gotham-Book" pitchFamily="-108" charset="0"/>
        </a:defRPr>
      </a:lvl7pPr>
      <a:lvl8pPr marL="2273553" indent="-104815" algn="l" defTabSz="558633" rtl="0" fontAlgn="base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SzPct val="80000"/>
        <a:buFont typeface="Wingdings" pitchFamily="-108" charset="2"/>
        <a:buChar char="§"/>
        <a:defRPr sz="1100">
          <a:solidFill>
            <a:srgbClr val="1C1C1C"/>
          </a:solidFill>
          <a:latin typeface="+mn-lt"/>
          <a:ea typeface="+mn-ea"/>
          <a:cs typeface="+mn-cs"/>
          <a:sym typeface="Gotham-Book" pitchFamily="-108" charset="0"/>
        </a:defRPr>
      </a:lvl8pPr>
      <a:lvl9pPr marL="2594671" indent="-104815" algn="l" defTabSz="558633" rtl="0" fontAlgn="base">
        <a:lnSpc>
          <a:spcPct val="90000"/>
        </a:lnSpc>
        <a:spcBef>
          <a:spcPts val="484"/>
        </a:spcBef>
        <a:spcAft>
          <a:spcPct val="0"/>
        </a:spcAft>
        <a:buClr>
          <a:srgbClr val="008B4B"/>
        </a:buClr>
        <a:buSzPct val="80000"/>
        <a:buFont typeface="Wingdings" pitchFamily="-108" charset="2"/>
        <a:buChar char="§"/>
        <a:defRPr sz="1100">
          <a:solidFill>
            <a:srgbClr val="1C1C1C"/>
          </a:solidFill>
          <a:latin typeface="+mn-lt"/>
          <a:ea typeface="+mn-ea"/>
          <a:cs typeface="+mn-cs"/>
          <a:sym typeface="Gotham-Book" pitchFamily="-108" charset="0"/>
        </a:defRPr>
      </a:lvl9pPr>
    </p:bodyStyle>
    <p:otherStyle>
      <a:defPPr>
        <a:defRPr lang="fr-FR"/>
      </a:defPPr>
      <a:lvl1pPr marL="0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125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255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3382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4513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5642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6770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7901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69028" algn="l" defTabSz="64225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8377217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0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35806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590"/>
            <a:endParaRPr lang="en-US" sz="800" dirty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23770" y="224072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0431" y="4458701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2508987"/>
            <a:ext cx="4389768" cy="248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6142" y="250813"/>
            <a:ext cx="8872538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61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  <a:sym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6144" y="608210"/>
            <a:ext cx="887253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>
          <a:xfrm>
            <a:off x="156143" y="6282977"/>
            <a:ext cx="8872538" cy="462517"/>
            <a:chOff x="156143" y="6282977"/>
            <a:chExt cx="8872538" cy="46251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56144" y="6591606"/>
              <a:ext cx="683758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420" indent="-469420" defTabSz="912590">
                <a:tabLst>
                  <a:tab pos="478940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6" y="1927496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265092" y="319085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957137" y="319103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1774" y="319083"/>
            <a:ext cx="1066895" cy="212366"/>
            <a:chOff x="7673880" y="285750"/>
            <a:chExt cx="1066895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447">
                <a:buClr>
                  <a:srgbClr val="037D4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198250" y="1769430"/>
            <a:ext cx="254000" cy="254000"/>
            <a:chOff x="1600" y="1600"/>
            <a:chExt cx="160" cy="160"/>
          </a:xfrm>
        </p:grpSpPr>
        <p:sp>
          <p:nvSpPr>
            <p:cNvPr id="44" name="Oval 90"/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45" name="Arc 9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</p:grpSp>
      <p:grpSp>
        <p:nvGrpSpPr>
          <p:cNvPr id="46" name="LegendMoons" hidden="1"/>
          <p:cNvGrpSpPr/>
          <p:nvPr/>
        </p:nvGrpSpPr>
        <p:grpSpPr bwMode="auto">
          <a:xfrm>
            <a:off x="8198250" y="319083"/>
            <a:ext cx="830430" cy="1306516"/>
            <a:chOff x="5428012" y="273840"/>
            <a:chExt cx="830430" cy="1306516"/>
          </a:xfrm>
        </p:grpSpPr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447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52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65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6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3" name="MoonLegend2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4" name="MoonLegend3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5" name="MoonLegend4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6" name="MoonLegend5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</p:grpSp>
      <p:cxnSp>
        <p:nvCxnSpPr>
          <p:cNvPr id="67" name="Connecteur droit 18"/>
          <p:cNvCxnSpPr>
            <a:cxnSpLocks noChangeShapeType="1"/>
          </p:cNvCxnSpPr>
          <p:nvPr/>
        </p:nvCxnSpPr>
        <p:spPr bwMode="auto">
          <a:xfrm>
            <a:off x="156144" y="6479101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8" name="Image 8" descr="LOGO_COOP_PMS.jpg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14824" y="6509832"/>
            <a:ext cx="1440406" cy="318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Slide Number"/>
          <p:cNvSpPr txBox="1">
            <a:spLocks/>
          </p:cNvSpPr>
          <p:nvPr userDrawn="1"/>
        </p:nvSpPr>
        <p:spPr bwMode="auto">
          <a:xfrm>
            <a:off x="8797851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416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90" rtl="0" eaLnBrk="1" fontAlgn="base" hangingPunct="1">
        <a:spcBef>
          <a:spcPct val="0"/>
        </a:spcBef>
        <a:spcAft>
          <a:spcPct val="0"/>
        </a:spcAft>
        <a:tabLst>
          <a:tab pos="275073" algn="l"/>
        </a:tabLst>
        <a:defRPr sz="2300" b="0" baseline="0">
          <a:solidFill>
            <a:srgbClr val="00A66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001"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009"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019"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021" algn="l" defTabSz="91259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407" indent="-195787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001" indent="-266978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195" indent="-158573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4249" indent="-132679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249" indent="-132679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249" indent="-132679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249" indent="-132679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249" indent="-132679" algn="l" defTabSz="91259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01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009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019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021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019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026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028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029" algn="l" defTabSz="9320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6" y="16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77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" y="16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435" name="doc id"/>
          <p:cNvSpPr>
            <a:spLocks noChangeArrowheads="1"/>
          </p:cNvSpPr>
          <p:nvPr/>
        </p:nvSpPr>
        <p:spPr bwMode="auto">
          <a:xfrm>
            <a:off x="8358190" y="36513"/>
            <a:ext cx="669925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fr-FR" altLang="fr-FR" sz="800" smtClean="0">
              <a:solidFill>
                <a:srgbClr val="000000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23603" y="224063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0266" y="4458367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cs typeface="Arial" pitchFamily="34" charset="0"/>
              <a:sym typeface="Arial" pitchFamily="34" charset="0"/>
            </a:endParaRPr>
          </a:p>
        </p:txBody>
      </p:sp>
      <p:sp>
        <p:nvSpPr>
          <p:cNvPr id="1843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6504" y="2508250"/>
            <a:ext cx="43910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smtClean="0"/>
              <a:t>Text</a:t>
            </a:r>
          </a:p>
        </p:txBody>
      </p:sp>
      <p:sp>
        <p:nvSpPr>
          <p:cNvPr id="1843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5575" y="250841"/>
            <a:ext cx="8872538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fr-FR" smtClean="0"/>
              <a:t>Click to edit Master title style</a:t>
            </a:r>
          </a:p>
        </p:txBody>
      </p:sp>
      <p:sp>
        <p:nvSpPr>
          <p:cNvPr id="18440" name="McK 1. On-page tracker" hidden="1"/>
          <p:cNvSpPr>
            <a:spLocks noChangeArrowheads="1"/>
          </p:cNvSpPr>
          <p:nvPr/>
        </p:nvSpPr>
        <p:spPr bwMode="auto">
          <a:xfrm>
            <a:off x="1555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fr-FR" sz="1400" smtClean="0">
                <a:solidFill>
                  <a:srgbClr val="808080"/>
                </a:solidFill>
                <a:cs typeface="Arial" pitchFamily="34" charset="0"/>
                <a:sym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5575" y="608029"/>
            <a:ext cx="8872538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cs typeface="Arial" pitchFamily="34" charset="0"/>
                <a:sym typeface="Arial" pitchFamily="34" charset="0"/>
              </a:rPr>
              <a:t>Unit of measure</a:t>
            </a:r>
          </a:p>
        </p:txBody>
      </p:sp>
      <p:grpSp>
        <p:nvGrpSpPr>
          <p:cNvPr id="18442" name="McK Slide Elements" hidden="1"/>
          <p:cNvGrpSpPr>
            <a:grpSpLocks/>
          </p:cNvGrpSpPr>
          <p:nvPr/>
        </p:nvGrpSpPr>
        <p:grpSpPr bwMode="auto">
          <a:xfrm>
            <a:off x="155575" y="6283325"/>
            <a:ext cx="8872538" cy="461963"/>
            <a:chOff x="156143" y="6282977"/>
            <a:chExt cx="8872538" cy="46251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8494" name="McK 5. Source"/>
            <p:cNvSpPr>
              <a:spLocks noChangeArrowheads="1"/>
            </p:cNvSpPr>
            <p:nvPr/>
          </p:nvSpPr>
          <p:spPr bwMode="auto">
            <a:xfrm>
              <a:off x="156143" y="6591321"/>
              <a:ext cx="6837363" cy="154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469900" indent="-4699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912813" eaLnBrk="0" hangingPunct="0"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9425" algn="l"/>
                </a:tabLs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sz="10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Source: Source</a:t>
              </a:r>
            </a:p>
          </p:txBody>
        </p:sp>
      </p:grpSp>
      <p:grpSp>
        <p:nvGrpSpPr>
          <p:cNvPr id="18443" name="ACET" hidden="1"/>
          <p:cNvGrpSpPr>
            <a:grpSpLocks/>
          </p:cNvGrpSpPr>
          <p:nvPr/>
        </p:nvGrpSpPr>
        <p:grpSpPr bwMode="auto">
          <a:xfrm>
            <a:off x="2376504" y="1935366"/>
            <a:ext cx="4391025" cy="511000"/>
            <a:chOff x="915" y="715"/>
            <a:chExt cx="2686" cy="315"/>
          </a:xfrm>
        </p:grpSpPr>
        <p:cxnSp>
          <p:nvCxnSpPr>
            <p:cNvPr id="18491" name="AutoShape 249"/>
            <p:cNvCxnSpPr>
              <a:cxnSpLocks noChangeShapeType="1"/>
              <a:stCxn id="18492" idx="4"/>
              <a:endCxn id="18492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492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fr-FR" b="1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fr-FR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18444" name="LegendBoxes" hidden="1"/>
          <p:cNvGrpSpPr>
            <a:grpSpLocks/>
          </p:cNvGrpSpPr>
          <p:nvPr/>
        </p:nvGrpSpPr>
        <p:grpSpPr bwMode="auto">
          <a:xfrm>
            <a:off x="8264525" y="319088"/>
            <a:ext cx="763588" cy="996950"/>
            <a:chOff x="4936" y="176"/>
            <a:chExt cx="481" cy="628"/>
          </a:xfrm>
        </p:grpSpPr>
        <p:sp>
          <p:nvSpPr>
            <p:cNvPr id="1848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9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z="1200" smtClean="0">
                <a:solidFill>
                  <a:srgbClr val="000000"/>
                </a:solidFill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18445" name="LegendLines" hidden="1"/>
          <p:cNvGrpSpPr>
            <a:grpSpLocks/>
          </p:cNvGrpSpPr>
          <p:nvPr/>
        </p:nvGrpSpPr>
        <p:grpSpPr bwMode="auto">
          <a:xfrm>
            <a:off x="7956566" y="319088"/>
            <a:ext cx="1071563" cy="730250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1848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8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18446" name="McKSticker" hidden="1"/>
          <p:cNvGrpSpPr>
            <a:grpSpLocks/>
          </p:cNvGrpSpPr>
          <p:nvPr/>
        </p:nvGrpSpPr>
        <p:grpSpPr bwMode="auto">
          <a:xfrm>
            <a:off x="7961216" y="319089"/>
            <a:ext cx="1066895" cy="212366"/>
            <a:chOff x="7673785" y="285750"/>
            <a:chExt cx="1066990" cy="212008"/>
          </a:xfrm>
        </p:grpSpPr>
        <p:sp>
          <p:nvSpPr>
            <p:cNvPr id="18474" name="StickerRectangle"/>
            <p:cNvSpPr>
              <a:spLocks noChangeArrowheads="1"/>
            </p:cNvSpPr>
            <p:nvPr/>
          </p:nvSpPr>
          <p:spPr bwMode="auto">
            <a:xfrm>
              <a:off x="7673785" y="285750"/>
              <a:ext cx="1066990" cy="2120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808080"/>
                  </a:solidFill>
                  <a:cs typeface="Arial" pitchFamily="34" charset="0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18475" name="AutoShape 31"/>
            <p:cNvCxnSpPr>
              <a:cxnSpLocks noChangeShapeType="1"/>
              <a:stCxn id="18474" idx="2"/>
              <a:endCxn id="18474" idx="4"/>
            </p:cNvCxnSpPr>
            <p:nvPr/>
          </p:nvCxnSpPr>
          <p:spPr bwMode="auto">
            <a:xfrm>
              <a:off x="7673785" y="285750"/>
              <a:ext cx="0" cy="2120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476" name="AutoShape 32"/>
            <p:cNvCxnSpPr>
              <a:cxnSpLocks noChangeShapeType="1"/>
              <a:stCxn id="18474" idx="4"/>
              <a:endCxn id="18474" idx="6"/>
            </p:cNvCxnSpPr>
            <p:nvPr/>
          </p:nvCxnSpPr>
          <p:spPr bwMode="auto">
            <a:xfrm>
              <a:off x="7673785" y="497758"/>
              <a:ext cx="106699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8447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197850" y="1770063"/>
            <a:ext cx="254000" cy="254000"/>
            <a:chOff x="1600" y="1600"/>
            <a:chExt cx="160" cy="160"/>
          </a:xfrm>
        </p:grpSpPr>
        <p:sp>
          <p:nvSpPr>
            <p:cNvPr id="44" name="Oval 90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  <p:sp>
          <p:nvSpPr>
            <p:cNvPr id="45" name="Arc 91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 sz="1200">
                <a:solidFill>
                  <a:srgbClr val="000000"/>
                </a:solidFill>
                <a:latin typeface="Arial"/>
                <a:cs typeface="Arial" pitchFamily="34" charset="0"/>
                <a:sym typeface="Arial" pitchFamily="34" charset="0"/>
              </a:endParaRPr>
            </a:p>
          </p:txBody>
        </p:sp>
      </p:grpSp>
      <p:grpSp>
        <p:nvGrpSpPr>
          <p:cNvPr id="18448" name="LegendMoons" hidden="1"/>
          <p:cNvGrpSpPr>
            <a:grpSpLocks/>
          </p:cNvGrpSpPr>
          <p:nvPr/>
        </p:nvGrpSpPr>
        <p:grpSpPr bwMode="auto">
          <a:xfrm>
            <a:off x="8197850" y="319088"/>
            <a:ext cx="830263" cy="1306512"/>
            <a:chOff x="5428012" y="273840"/>
            <a:chExt cx="830430" cy="1306516"/>
          </a:xfrm>
        </p:grpSpPr>
        <p:sp>
          <p:nvSpPr>
            <p:cNvPr id="18452" name="Legend1"/>
            <p:cNvSpPr>
              <a:spLocks noChangeArrowheads="1"/>
            </p:cNvSpPr>
            <p:nvPr/>
          </p:nvSpPr>
          <p:spPr bwMode="auto">
            <a:xfrm>
              <a:off x="5748752" y="28654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3" name="Legend2"/>
            <p:cNvSpPr>
              <a:spLocks noChangeArrowheads="1"/>
            </p:cNvSpPr>
            <p:nvPr/>
          </p:nvSpPr>
          <p:spPr bwMode="auto">
            <a:xfrm>
              <a:off x="5748752" y="561178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4" name="Legend3"/>
            <p:cNvSpPr>
              <a:spLocks noChangeArrowheads="1"/>
            </p:cNvSpPr>
            <p:nvPr/>
          </p:nvSpPr>
          <p:spPr bwMode="auto">
            <a:xfrm>
              <a:off x="5748752" y="835817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5" name="Legend4"/>
            <p:cNvSpPr>
              <a:spLocks noChangeArrowheads="1"/>
            </p:cNvSpPr>
            <p:nvPr/>
          </p:nvSpPr>
          <p:spPr bwMode="auto">
            <a:xfrm>
              <a:off x="5748752" y="1107280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sp>
          <p:nvSpPr>
            <p:cNvPr id="18456" name="Legend5"/>
            <p:cNvSpPr>
              <a:spLocks noChangeArrowheads="1"/>
            </p:cNvSpPr>
            <p:nvPr/>
          </p:nvSpPr>
          <p:spPr bwMode="auto">
            <a:xfrm>
              <a:off x="5748752" y="1383505"/>
              <a:ext cx="509690" cy="1841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37D4D"/>
                </a:buClr>
                <a:defRPr/>
              </a:pPr>
              <a:r>
                <a:rPr lang="en-US" altLang="fr-FR" sz="1200" smtClean="0">
                  <a:solidFill>
                    <a:srgbClr val="000000"/>
                  </a:solidFill>
                  <a:cs typeface="Arial" pitchFamily="34" charset="0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18457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65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6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58" name="MoonLegend2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59" name="MoonLegend3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1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60" name="MoonLegend4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grpSp>
          <p:nvGrpSpPr>
            <p:cNvPr id="18461" name="MoonLegend5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200">
                  <a:solidFill>
                    <a:srgbClr val="000000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</p:grpSp>
      <p:cxnSp>
        <p:nvCxnSpPr>
          <p:cNvPr id="18449" name="Connecteur droit 18"/>
          <p:cNvCxnSpPr>
            <a:cxnSpLocks noChangeShapeType="1"/>
          </p:cNvCxnSpPr>
          <p:nvPr/>
        </p:nvCxnSpPr>
        <p:spPr bwMode="auto">
          <a:xfrm>
            <a:off x="155575" y="6478588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8450" name="Image 8" descr="LOGO_COOP_PMS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5191" y="6510338"/>
            <a:ext cx="1439863" cy="31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Slide Number"/>
          <p:cNvSpPr txBox="1">
            <a:spLocks/>
          </p:cNvSpPr>
          <p:nvPr userDrawn="1"/>
        </p:nvSpPr>
        <p:spPr bwMode="auto">
          <a:xfrm>
            <a:off x="8797282" y="6591350"/>
            <a:ext cx="23083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>
              <a:defRPr/>
            </a:pPr>
            <a:fld id="{25FCDD33-F38D-42D1-91F2-3C39A628BCDA}" type="slidenum">
              <a:rPr lang="en-US" smtClean="0">
                <a:solidFill>
                  <a:srgbClr val="777777"/>
                </a:solidFill>
                <a:cs typeface="Arial" pitchFamily="34" charset="0"/>
                <a:sym typeface="Arial" pitchFamily="34" charset="0"/>
              </a:rPr>
              <a:pPr algn="r">
                <a:defRPr/>
              </a:pPr>
              <a:t>‹N°›</a:t>
            </a:fld>
            <a:endParaRPr lang="en-US" dirty="0">
              <a:solidFill>
                <a:srgbClr val="777777"/>
              </a:solidFill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144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50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066" rtl="0" eaLnBrk="0" fontAlgn="base" hangingPunct="0">
        <a:spcBef>
          <a:spcPct val="0"/>
        </a:spcBef>
        <a:spcAft>
          <a:spcPct val="0"/>
        </a:spcAft>
        <a:tabLst>
          <a:tab pos="274414" algn="l"/>
        </a:tabLst>
        <a:defRPr sz="2300">
          <a:solidFill>
            <a:srgbClr val="00A66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2066" rtl="0" eaLnBrk="0" fontAlgn="base" hangingPunct="0">
        <a:spcBef>
          <a:spcPct val="0"/>
        </a:spcBef>
        <a:spcAft>
          <a:spcPct val="0"/>
        </a:spcAft>
        <a:tabLst>
          <a:tab pos="27441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912066" rtl="0" eaLnBrk="0" fontAlgn="base" hangingPunct="0">
        <a:spcBef>
          <a:spcPct val="0"/>
        </a:spcBef>
        <a:spcAft>
          <a:spcPct val="0"/>
        </a:spcAft>
        <a:tabLst>
          <a:tab pos="27441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912066" rtl="0" eaLnBrk="0" fontAlgn="base" hangingPunct="0">
        <a:spcBef>
          <a:spcPct val="0"/>
        </a:spcBef>
        <a:spcAft>
          <a:spcPct val="0"/>
        </a:spcAft>
        <a:tabLst>
          <a:tab pos="27441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912066" rtl="0" eaLnBrk="0" fontAlgn="base" hangingPunct="0">
        <a:spcBef>
          <a:spcPct val="0"/>
        </a:spcBef>
        <a:spcAft>
          <a:spcPct val="0"/>
        </a:spcAft>
        <a:tabLst>
          <a:tab pos="274414" algn="l"/>
        </a:tabLst>
        <a:defRPr sz="2300">
          <a:solidFill>
            <a:srgbClr val="00A664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466097" algn="l" defTabSz="9127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200" algn="l" defTabSz="9127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303" algn="l" defTabSz="9127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402" algn="l" defTabSz="9127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91206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6690" indent="-195103" algn="l" defTabSz="91206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4755" indent="-266479" algn="l" defTabSz="91206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4963" indent="-157035" algn="l" defTabSz="91206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2964" indent="-131652" algn="l" defTabSz="91206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405" indent="-132706" algn="l" defTabSz="9127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405" indent="-132706" algn="l" defTabSz="9127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405" indent="-132706" algn="l" defTabSz="9127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405" indent="-132706" algn="l" defTabSz="9127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97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200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303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402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496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598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696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793" algn="l" defTabSz="932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08100964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4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358066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2824"/>
            <a:endParaRPr lang="en-US" sz="800" dirty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23764" y="2240722"/>
            <a:ext cx="189795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pitchFamily="34" charset="0"/>
              </a:rPr>
              <a:t>Last Modified 13/01/2015 17:03 Easter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60431" y="4458701"/>
            <a:ext cx="202459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  <a:sym typeface="Arial" pitchFamily="34" charset="0"/>
              </a:rPr>
              <a:t>Printed 09/01/2015 07:39 Central European Standard Time</a:t>
            </a:r>
            <a:endParaRPr lang="en-US" dirty="0" smtClean="0">
              <a:solidFill>
                <a:srgbClr val="000000"/>
              </a:solidFill>
              <a:latin typeface="Arial"/>
              <a:sym typeface="Arial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2508987"/>
            <a:ext cx="4389768" cy="248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56142" y="250813"/>
            <a:ext cx="8872538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561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  <a:sym typeface="Arial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56144" y="608210"/>
            <a:ext cx="8872538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  <a:sym typeface="Arial" pitchFamily="34" charset="0"/>
              </a:rPr>
              <a:t>Unit of measure</a:t>
            </a:r>
          </a:p>
        </p:txBody>
      </p:sp>
      <p:grpSp>
        <p:nvGrpSpPr>
          <p:cNvPr id="4" name="McK Slide Elements" hidden="1"/>
          <p:cNvGrpSpPr/>
          <p:nvPr/>
        </p:nvGrpSpPr>
        <p:grpSpPr>
          <a:xfrm>
            <a:off x="156143" y="6282977"/>
            <a:ext cx="8872538" cy="462517"/>
            <a:chOff x="156143" y="6282977"/>
            <a:chExt cx="8872538" cy="462517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56143" y="6282977"/>
              <a:ext cx="8872538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56144" y="6591606"/>
              <a:ext cx="6837587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540" indent="-469540" defTabSz="912824">
                <a:tabLst>
                  <a:tab pos="479061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6" y="1927496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  <a:sym typeface="Arial" pitchFamily="34" charset="0"/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265092" y="319085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957132" y="319098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7961774" y="319083"/>
            <a:ext cx="1066895" cy="212366"/>
            <a:chOff x="7673880" y="285750"/>
            <a:chExt cx="1066895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672">
                <a:buClr>
                  <a:srgbClr val="037D4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  <a:sym typeface="Arial" pitchFamily="34" charset="0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198250" y="1769430"/>
            <a:ext cx="254000" cy="254000"/>
            <a:chOff x="1600" y="1600"/>
            <a:chExt cx="160" cy="160"/>
          </a:xfrm>
        </p:grpSpPr>
        <p:sp>
          <p:nvSpPr>
            <p:cNvPr id="44" name="Oval 90"/>
            <p:cNvSpPr>
              <a:spLocks noChangeAspect="1"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  <p:sp>
          <p:nvSpPr>
            <p:cNvPr id="45" name="Arc 91"/>
            <p:cNvSpPr>
              <a:spLocks noChangeAspect="1"/>
            </p:cNvSpPr>
            <p:nvPr>
              <p:custDataLst>
                <p:tags r:id="rId2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tx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  <a:sym typeface="Arial" pitchFamily="34" charset="0"/>
              </a:endParaRPr>
            </a:p>
          </p:txBody>
        </p:sp>
      </p:grpSp>
      <p:grpSp>
        <p:nvGrpSpPr>
          <p:cNvPr id="46" name="LegendMoons" hidden="1"/>
          <p:cNvGrpSpPr/>
          <p:nvPr/>
        </p:nvGrpSpPr>
        <p:grpSpPr bwMode="auto">
          <a:xfrm>
            <a:off x="8198250" y="319083"/>
            <a:ext cx="830430" cy="1306516"/>
            <a:chOff x="5428012" y="273840"/>
            <a:chExt cx="830430" cy="1306516"/>
          </a:xfrm>
        </p:grpSpPr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5748687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5748687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672">
                <a:buClr>
                  <a:srgbClr val="037D4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  <a:sym typeface="Arial" pitchFamily="34" charset="0"/>
                </a:rPr>
                <a:t>Legend</a:t>
              </a:r>
            </a:p>
          </p:txBody>
        </p:sp>
        <p:grpSp>
          <p:nvGrpSpPr>
            <p:cNvPr id="52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65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6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3" name="MoonLegend2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4" name="MoonLegend3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5" name="MoonLegend4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  <p:grpSp>
          <p:nvGrpSpPr>
            <p:cNvPr id="56" name="MoonLegend5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57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  <p:sp>
            <p:nvSpPr>
              <p:cNvPr id="58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tx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  <a:sym typeface="Arial" pitchFamily="34" charset="0"/>
                </a:endParaRPr>
              </a:p>
            </p:txBody>
          </p:sp>
        </p:grpSp>
      </p:grpSp>
      <p:cxnSp>
        <p:nvCxnSpPr>
          <p:cNvPr id="67" name="Connecteur droit 18"/>
          <p:cNvCxnSpPr>
            <a:cxnSpLocks noChangeShapeType="1"/>
          </p:cNvCxnSpPr>
          <p:nvPr/>
        </p:nvCxnSpPr>
        <p:spPr bwMode="auto">
          <a:xfrm>
            <a:off x="156144" y="6479101"/>
            <a:ext cx="8872538" cy="0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68" name="Image 8" descr="LOGO_COOP_PMS.jpg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114824" y="6509827"/>
            <a:ext cx="1440406" cy="318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Slide Number"/>
          <p:cNvSpPr txBox="1">
            <a:spLocks/>
          </p:cNvSpPr>
          <p:nvPr userDrawn="1"/>
        </p:nvSpPr>
        <p:spPr bwMode="auto">
          <a:xfrm>
            <a:off x="8797850" y="6591607"/>
            <a:ext cx="230832" cy="153888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mtClean="0">
                <a:solidFill>
                  <a:srgbClr val="777777"/>
                </a:solidFill>
                <a:sym typeface="Arial" pitchFamily="34" charset="0"/>
              </a:rPr>
              <a:pPr algn="r"/>
              <a:t>‹N°›</a:t>
            </a:fld>
            <a:endParaRPr lang="en-US" dirty="0">
              <a:solidFill>
                <a:srgbClr val="777777"/>
              </a:solidFill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6769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24" rtl="0" eaLnBrk="1" fontAlgn="base" hangingPunct="1">
        <a:spcBef>
          <a:spcPct val="0"/>
        </a:spcBef>
        <a:spcAft>
          <a:spcPct val="0"/>
        </a:spcAft>
        <a:tabLst>
          <a:tab pos="275143" algn="l"/>
        </a:tabLst>
        <a:defRPr sz="2300" b="0" baseline="0">
          <a:solidFill>
            <a:srgbClr val="00A66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121"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247"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374"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497" algn="l" defTabSz="912824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457" indent="-195837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121" indent="-267047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355" indent="-158613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4444" indent="-132713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444" indent="-132713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444" indent="-132713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444" indent="-132713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444" indent="-132713" algn="l" defTabSz="9128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21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247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374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497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615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6741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2863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8984" algn="l" defTabSz="93224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6"/>
          <p:cNvSpPr>
            <a:spLocks noChangeArrowheads="1"/>
          </p:cNvSpPr>
          <p:nvPr/>
        </p:nvSpPr>
        <p:spPr bwMode="auto">
          <a:xfrm>
            <a:off x="2639839" y="6467326"/>
            <a:ext cx="3856508" cy="39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2119" rIns="64242" bIns="32119"/>
          <a:lstStyle>
            <a:lvl1pPr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fr-CA" altLang="fr-FR" sz="1300" i="1" smtClean="0">
              <a:solidFill>
                <a:srgbClr val="9C9C9C"/>
              </a:solidFill>
              <a:ea typeface="Geneva" charset="0"/>
              <a:cs typeface="Geneva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00783" y="377279"/>
            <a:ext cx="8003232" cy="855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40598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CA" altLang="fr-FR" smtClean="0">
                <a:sym typeface="Gotham-Medium" pitchFamily="88" charset="0"/>
              </a:rPr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0783" y="1395266"/>
            <a:ext cx="7570143" cy="1493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3520" tIns="53520" rIns="94115" bIns="535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A" altLang="fr-FR" smtClean="0">
                <a:sym typeface="Gotham-Medium" pitchFamily="88" charset="0"/>
              </a:rPr>
              <a:t>Click to edit Master text styles</a:t>
            </a:r>
          </a:p>
          <a:p>
            <a:pPr lvl="1"/>
            <a:r>
              <a:rPr lang="fr-CA" altLang="fr-FR" smtClean="0">
                <a:sym typeface="Gotham-Medium" pitchFamily="88" charset="0"/>
              </a:rPr>
              <a:t>Second level</a:t>
            </a:r>
          </a:p>
          <a:p>
            <a:pPr lvl="2"/>
            <a:r>
              <a:rPr lang="fr-CA" altLang="fr-FR" smtClean="0">
                <a:sym typeface="Gotham-Book"/>
              </a:rPr>
              <a:t>Third level</a:t>
            </a:r>
          </a:p>
          <a:p>
            <a:pPr lvl="3"/>
            <a:r>
              <a:rPr lang="fr-CA" altLang="fr-FR" smtClean="0">
                <a:sym typeface="Gotham-Book"/>
              </a:rPr>
              <a:t>Fourth level</a:t>
            </a:r>
          </a:p>
          <a:p>
            <a:pPr lvl="4"/>
            <a:r>
              <a:rPr lang="fr-CA" altLang="fr-FR" smtClean="0">
                <a:sym typeface="Gotham-Book"/>
              </a:rPr>
              <a:t>Fifth level</a:t>
            </a:r>
          </a:p>
        </p:txBody>
      </p:sp>
      <p:cxnSp>
        <p:nvCxnSpPr>
          <p:cNvPr id="1029" name="Connecteur droit 18"/>
          <p:cNvCxnSpPr>
            <a:cxnSpLocks noChangeShapeType="1"/>
          </p:cNvCxnSpPr>
          <p:nvPr userDrawn="1"/>
        </p:nvCxnSpPr>
        <p:spPr bwMode="auto">
          <a:xfrm>
            <a:off x="900783" y="5956116"/>
            <a:ext cx="7570143" cy="1117"/>
          </a:xfrm>
          <a:prstGeom prst="line">
            <a:avLst/>
          </a:prstGeom>
          <a:noFill/>
          <a:ln w="12700">
            <a:solidFill>
              <a:srgbClr val="008B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0" name="Rectangle 19"/>
          <p:cNvSpPr>
            <a:spLocks noChangeArrowheads="1"/>
          </p:cNvSpPr>
          <p:nvPr userDrawn="1"/>
        </p:nvSpPr>
        <p:spPr bwMode="auto">
          <a:xfrm>
            <a:off x="2639839" y="6467326"/>
            <a:ext cx="3856508" cy="39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32119" rIns="64242" bIns="32119"/>
          <a:lstStyle>
            <a:lvl1pPr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fr-CA" altLang="fr-FR" sz="1300" i="1" smtClean="0">
              <a:solidFill>
                <a:srgbClr val="9C9C9C"/>
              </a:solidFill>
              <a:ea typeface="Geneva" charset="0"/>
              <a:cs typeface="Geneva" charset="0"/>
            </a:endParaRPr>
          </a:p>
        </p:txBody>
      </p:sp>
      <p:pic>
        <p:nvPicPr>
          <p:cNvPr id="1031" name="Image 8" descr="LOGO_COOP_PMS.jp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933" y="5988472"/>
            <a:ext cx="1777008" cy="7534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785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00783" y="5982906"/>
            <a:ext cx="933152" cy="382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4242" tIns="32119" rIns="64242" bIns="32119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300">
                <a:solidFill>
                  <a:srgbClr val="777777"/>
                </a:solidFill>
                <a:cs typeface="+mn-cs"/>
              </a:defRPr>
            </a:lvl1pPr>
          </a:lstStyle>
          <a:p>
            <a:pPr>
              <a:defRPr/>
            </a:pPr>
            <a:fld id="{D812DBC5-476E-43E6-B11D-D1756470AD08}" type="slidenum">
              <a:rPr lang="fr-CA" altLang="fr-FR">
                <a:latin typeface="Arial" pitchFamily="34" charset="0"/>
                <a:sym typeface="Arial" pitchFamily="34" charset="0"/>
              </a:rPr>
              <a:pPr>
                <a:defRPr/>
              </a:pPr>
              <a:t>‹N°›</a:t>
            </a:fld>
            <a:endParaRPr lang="fr-CA" altLang="fr-FR">
              <a:latin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557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ransition>
    <p:fade/>
  </p:transition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+mj-lt"/>
          <a:ea typeface="+mj-ea"/>
          <a:cs typeface="+mj-cs"/>
          <a:sym typeface="Gotham-Medium" pitchFamily="88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5pPr>
      <a:lvl6pPr marL="321208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6pPr>
      <a:lvl7pPr marL="642420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7pPr>
      <a:lvl8pPr marL="963629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8pPr>
      <a:lvl9pPr marL="1284842" algn="l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00A664"/>
          </a:solidFill>
          <a:latin typeface="Arial" pitchFamily="34" charset="0"/>
          <a:sym typeface="Gotham-Medium" pitchFamily="88" charset="0"/>
        </a:defRPr>
      </a:lvl9pPr>
    </p:titleStyle>
    <p:bodyStyle>
      <a:lvl1pPr marL="190719" indent="-190719" algn="l" defTabSz="558775" rtl="0" eaLnBrk="0" fontAlgn="base" hangingPunct="0">
        <a:lnSpc>
          <a:spcPct val="95000"/>
        </a:lnSpc>
        <a:spcBef>
          <a:spcPct val="80000"/>
        </a:spcBef>
        <a:spcAft>
          <a:spcPct val="0"/>
        </a:spcAft>
        <a:buClr>
          <a:srgbClr val="00A664"/>
        </a:buClr>
        <a:buSzPct val="110000"/>
        <a:buChar char="•"/>
        <a:defRPr sz="1700">
          <a:solidFill>
            <a:srgbClr val="292929"/>
          </a:solidFill>
          <a:latin typeface="+mn-lt"/>
          <a:ea typeface="+mn-ea"/>
          <a:cs typeface="+mn-cs"/>
          <a:sym typeface="Gotham-Medium" pitchFamily="88" charset="0"/>
        </a:defRPr>
      </a:lvl1pPr>
      <a:lvl2pPr marL="499655" indent="-182911" algn="l" defTabSz="558775" rtl="0" eaLnBrk="0" fontAlgn="base" hangingPunct="0">
        <a:lnSpc>
          <a:spcPct val="95000"/>
        </a:lnSpc>
        <a:spcBef>
          <a:spcPct val="60000"/>
        </a:spcBef>
        <a:spcAft>
          <a:spcPct val="0"/>
        </a:spcAft>
        <a:buClr>
          <a:srgbClr val="00A664"/>
        </a:buClr>
        <a:buFont typeface="Arial" pitchFamily="34" charset="0"/>
        <a:buChar char="−"/>
        <a:defRPr sz="1500">
          <a:solidFill>
            <a:srgbClr val="292929"/>
          </a:solidFill>
          <a:latin typeface="+mn-lt"/>
          <a:sym typeface="Gotham-Medium" pitchFamily="88" charset="0"/>
        </a:defRPr>
      </a:lvl2pPr>
      <a:lvl3pPr marL="761760" indent="-136068" algn="l" defTabSz="558775" rtl="0" eaLnBrk="0" fontAlgn="base" hangingPunct="0">
        <a:lnSpc>
          <a:spcPct val="95000"/>
        </a:lnSpc>
        <a:spcBef>
          <a:spcPct val="40000"/>
        </a:spcBef>
        <a:spcAft>
          <a:spcPct val="0"/>
        </a:spcAft>
        <a:buClr>
          <a:srgbClr val="00A664"/>
        </a:buClr>
        <a:buSzPct val="80000"/>
        <a:buFont typeface="Wingdings" pitchFamily="2" charset="2"/>
        <a:buChar char="§"/>
        <a:defRPr sz="1400">
          <a:solidFill>
            <a:srgbClr val="292929"/>
          </a:solidFill>
          <a:latin typeface="+mn-lt"/>
          <a:sym typeface="Gotham-Book"/>
        </a:defRPr>
      </a:lvl3pPr>
      <a:lvl4pPr marL="1079626" indent="-132720" algn="l" defTabSz="558775" rtl="0" eaLnBrk="0" fontAlgn="base" hangingPunct="0">
        <a:lnSpc>
          <a:spcPct val="95000"/>
        </a:lnSpc>
        <a:spcBef>
          <a:spcPct val="20000"/>
        </a:spcBef>
        <a:spcAft>
          <a:spcPct val="0"/>
        </a:spcAft>
        <a:buClr>
          <a:srgbClr val="00A664"/>
        </a:buClr>
        <a:buSzPct val="115000"/>
        <a:buChar char="•"/>
        <a:defRPr>
          <a:solidFill>
            <a:srgbClr val="292929"/>
          </a:solidFill>
          <a:latin typeface="+mn-lt"/>
          <a:sym typeface="Gotham-Book"/>
        </a:defRPr>
      </a:lvl4pPr>
      <a:lvl5pPr marL="1310497" indent="-104841" algn="l" defTabSz="558775" rtl="0" eaLnBrk="0" fontAlgn="base" hangingPunct="0">
        <a:lnSpc>
          <a:spcPct val="95000"/>
        </a:lnSpc>
        <a:spcBef>
          <a:spcPct val="5000"/>
        </a:spcBef>
        <a:spcAft>
          <a:spcPct val="0"/>
        </a:spcAft>
        <a:buClr>
          <a:srgbClr val="00A664"/>
        </a:buClr>
        <a:buFont typeface="Arial" pitchFamily="34" charset="0"/>
        <a:buChar char="−"/>
        <a:defRPr sz="1100">
          <a:solidFill>
            <a:srgbClr val="292929"/>
          </a:solidFill>
          <a:latin typeface="+mn-lt"/>
          <a:sym typeface="Gotham-Book"/>
        </a:defRPr>
      </a:lvl5pPr>
      <a:lvl6pPr marL="1631709" indent="-104841" algn="l" defTabSz="558775" rtl="0" fontAlgn="base">
        <a:lnSpc>
          <a:spcPct val="95000"/>
        </a:lnSpc>
        <a:spcBef>
          <a:spcPct val="5000"/>
        </a:spcBef>
        <a:spcAft>
          <a:spcPct val="0"/>
        </a:spcAft>
        <a:buClr>
          <a:srgbClr val="00A664"/>
        </a:buClr>
        <a:buFont typeface="Arial" pitchFamily="34" charset="0"/>
        <a:buChar char="−"/>
        <a:defRPr sz="1100">
          <a:solidFill>
            <a:srgbClr val="292929"/>
          </a:solidFill>
          <a:latin typeface="+mn-lt"/>
          <a:sym typeface="Gotham-Book" pitchFamily="-108" charset="0"/>
        </a:defRPr>
      </a:lvl6pPr>
      <a:lvl7pPr marL="1952916" indent="-104841" algn="l" defTabSz="558775" rtl="0" fontAlgn="base">
        <a:lnSpc>
          <a:spcPct val="95000"/>
        </a:lnSpc>
        <a:spcBef>
          <a:spcPct val="5000"/>
        </a:spcBef>
        <a:spcAft>
          <a:spcPct val="0"/>
        </a:spcAft>
        <a:buClr>
          <a:srgbClr val="00A664"/>
        </a:buClr>
        <a:buFont typeface="Arial" pitchFamily="34" charset="0"/>
        <a:buChar char="−"/>
        <a:defRPr sz="1100">
          <a:solidFill>
            <a:srgbClr val="292929"/>
          </a:solidFill>
          <a:latin typeface="+mn-lt"/>
          <a:sym typeface="Gotham-Book" pitchFamily="-108" charset="0"/>
        </a:defRPr>
      </a:lvl7pPr>
      <a:lvl8pPr marL="2274133" indent="-104841" algn="l" defTabSz="558775" rtl="0" fontAlgn="base">
        <a:lnSpc>
          <a:spcPct val="95000"/>
        </a:lnSpc>
        <a:spcBef>
          <a:spcPct val="5000"/>
        </a:spcBef>
        <a:spcAft>
          <a:spcPct val="0"/>
        </a:spcAft>
        <a:buClr>
          <a:srgbClr val="00A664"/>
        </a:buClr>
        <a:buFont typeface="Arial" pitchFamily="34" charset="0"/>
        <a:buChar char="−"/>
        <a:defRPr sz="1100">
          <a:solidFill>
            <a:srgbClr val="292929"/>
          </a:solidFill>
          <a:latin typeface="+mn-lt"/>
          <a:sym typeface="Gotham-Book" pitchFamily="-108" charset="0"/>
        </a:defRPr>
      </a:lvl8pPr>
      <a:lvl9pPr marL="2595336" indent="-104841" algn="l" defTabSz="558775" rtl="0" fontAlgn="base">
        <a:lnSpc>
          <a:spcPct val="95000"/>
        </a:lnSpc>
        <a:spcBef>
          <a:spcPct val="5000"/>
        </a:spcBef>
        <a:spcAft>
          <a:spcPct val="0"/>
        </a:spcAft>
        <a:buClr>
          <a:srgbClr val="00A664"/>
        </a:buClr>
        <a:buFont typeface="Arial" pitchFamily="34" charset="0"/>
        <a:buChar char="−"/>
        <a:defRPr sz="1100">
          <a:solidFill>
            <a:srgbClr val="292929"/>
          </a:solidFill>
          <a:latin typeface="+mn-lt"/>
          <a:sym typeface="Gotham-Book" pitchFamily="-108" charset="0"/>
        </a:defRPr>
      </a:lvl9pPr>
    </p:bodyStyle>
    <p:otherStyle>
      <a:defPPr>
        <a:defRPr lang="fr-FR"/>
      </a:defPPr>
      <a:lvl1pPr marL="0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208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420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3629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4842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6052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7263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8476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69686" algn="l" defTabSz="642420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gi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9.xml"/><Relationship Id="rId6" Type="http://schemas.openxmlformats.org/officeDocument/2006/relationships/image" Target="../media/image27.png"/><Relationship Id="rId11" Type="http://schemas.openxmlformats.org/officeDocument/2006/relationships/image" Target="../media/image31.png"/><Relationship Id="rId5" Type="http://schemas.openxmlformats.org/officeDocument/2006/relationships/image" Target="../media/image26.png"/><Relationship Id="rId15" Type="http://schemas.openxmlformats.org/officeDocument/2006/relationships/image" Target="../media/image35.png"/><Relationship Id="rId10" Type="http://schemas.openxmlformats.org/officeDocument/2006/relationships/image" Target="../media/image30.png"/><Relationship Id="rId4" Type="http://schemas.openxmlformats.org/officeDocument/2006/relationships/image" Target="../media/image25.png"/><Relationship Id="rId9" Type="http://schemas.openxmlformats.org/officeDocument/2006/relationships/hyperlink" Target="http://www.iconarchive.com/show/vista-people-icons-by-icons-land/Office-Customer-Male-Light-icon.html" TargetMode="External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67726" y="669519"/>
            <a:ext cx="6229350" cy="1176337"/>
          </a:xfrm>
        </p:spPr>
        <p:txBody>
          <a:bodyPr/>
          <a:lstStyle/>
          <a:p>
            <a:r>
              <a:rPr lang="fr-CA" altLang="fr-FR" sz="2000" dirty="0" smtClean="0"/>
              <a:t>La mise en place d'un centre d'excellence en analyse d'affaires chez Desjardins</a:t>
            </a:r>
            <a:endParaRPr lang="fr-CA" altLang="fr-FR" sz="1600" b="0" i="1" dirty="0" smtClean="0">
              <a:solidFill>
                <a:srgbClr val="00A66A"/>
              </a:solidFill>
            </a:endParaRPr>
          </a:p>
        </p:txBody>
      </p:sp>
      <p:sp>
        <p:nvSpPr>
          <p:cNvPr id="9220" name="Rectangle 3"/>
          <p:cNvSpPr txBox="1">
            <a:spLocks noChangeArrowheads="1"/>
          </p:cNvSpPr>
          <p:nvPr/>
        </p:nvSpPr>
        <p:spPr bwMode="auto">
          <a:xfrm>
            <a:off x="2374234" y="3097025"/>
            <a:ext cx="5940425" cy="506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defTabSz="795338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defTabSz="795338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defTabSz="795338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defTabSz="795338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defTabSz="795338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defTabSz="7953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defTabSz="7953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defTabSz="7953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defTabSz="7953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>
              <a:lnSpc>
                <a:spcPct val="95000"/>
              </a:lnSpc>
              <a:spcBef>
                <a:spcPct val="20000"/>
              </a:spcBef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None/>
            </a:pPr>
            <a:r>
              <a:rPr lang="fr-CA" altLang="fr-FR" sz="1600" b="1" dirty="0" smtClean="0">
                <a:solidFill>
                  <a:srgbClr val="636363"/>
                </a:solidFill>
              </a:rPr>
              <a:t>26 mai 2016</a:t>
            </a:r>
            <a:endParaRPr lang="fr-CA" altLang="fr-FR" sz="1600" b="1" dirty="0">
              <a:solidFill>
                <a:srgbClr val="636363"/>
              </a:solidFill>
            </a:endParaRPr>
          </a:p>
          <a:p>
            <a:pPr>
              <a:lnSpc>
                <a:spcPct val="95000"/>
              </a:lnSpc>
              <a:spcBef>
                <a:spcPct val="20000"/>
              </a:spcBef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None/>
            </a:pPr>
            <a:endParaRPr lang="fr-CA" altLang="fr-FR" sz="2400" dirty="0">
              <a:solidFill>
                <a:srgbClr val="636363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8640" y="3273676"/>
            <a:ext cx="4757207" cy="3278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57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 bwMode="auto">
          <a:xfrm>
            <a:off x="25679" y="0"/>
            <a:ext cx="9201317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400" b="1" dirty="0" smtClean="0">
                <a:solidFill>
                  <a:schemeClr val="bg1"/>
                </a:solidFill>
                <a:latin typeface="Calibri" pitchFamily="34" charset="0"/>
                <a:sym typeface="Wingdings 3" pitchFamily="18" charset="2"/>
              </a:rPr>
              <a:t>5 initiatives en 2016 </a:t>
            </a:r>
            <a:r>
              <a:rPr lang="fr-CA" altLang="fr-FR" sz="2400" b="1" dirty="0" err="1" smtClean="0">
                <a:solidFill>
                  <a:schemeClr val="bg1"/>
                </a:solidFill>
                <a:latin typeface="Calibri" pitchFamily="34" charset="0"/>
                <a:sym typeface="Wingdings 3" pitchFamily="18" charset="2"/>
              </a:rPr>
              <a:t>mobilisantes</a:t>
            </a:r>
            <a:r>
              <a:rPr lang="fr-CA" altLang="fr-FR" sz="2400" b="1" dirty="0" smtClean="0">
                <a:solidFill>
                  <a:schemeClr val="bg1"/>
                </a:solidFill>
                <a:latin typeface="Calibri" pitchFamily="34" charset="0"/>
                <a:sym typeface="Wingdings 3" pitchFamily="18" charset="2"/>
              </a:rPr>
              <a:t> pour la communauté Desjardins </a:t>
            </a:r>
            <a:endParaRPr lang="fr-CA" altLang="fr-FR" sz="2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18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8275706" y="6505574"/>
            <a:ext cx="596832" cy="355717"/>
          </a:xfrm>
        </p:spPr>
        <p:txBody>
          <a:bodyPr/>
          <a:lstStyle/>
          <a:p>
            <a:pPr>
              <a:defRPr/>
            </a:pPr>
            <a:fld id="{C713B270-3779-476F-BF55-16F367D2169C}" type="slidenum">
              <a:rPr lang="fr-CA" smtClean="0"/>
              <a:pPr>
                <a:defRPr/>
              </a:pPr>
              <a:t>10</a:t>
            </a:fld>
            <a:endParaRPr lang="fr-CA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44" y="941692"/>
            <a:ext cx="2268941" cy="2268941"/>
          </a:xfrm>
          <a:prstGeom prst="rect">
            <a:avLst/>
          </a:prstGeom>
        </p:spPr>
      </p:pic>
      <p:sp>
        <p:nvSpPr>
          <p:cNvPr id="3" name="ZoneTexte 2"/>
          <p:cNvSpPr txBox="1"/>
          <p:nvPr/>
        </p:nvSpPr>
        <p:spPr>
          <a:xfrm>
            <a:off x="544203" y="3104861"/>
            <a:ext cx="24446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 smtClean="0"/>
              <a:t>1- Guide référentiel</a:t>
            </a:r>
            <a:endParaRPr lang="fr-CA" sz="1600" b="1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1947" y="1436422"/>
            <a:ext cx="2224585" cy="1668439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3411947" y="3108274"/>
            <a:ext cx="24446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/>
              <a:t>2</a:t>
            </a:r>
            <a:r>
              <a:rPr lang="fr-CA" sz="1600" b="1" dirty="0" smtClean="0"/>
              <a:t>- Boîte à outils et évaluation des compétences</a:t>
            </a:r>
            <a:endParaRPr lang="fr-CA" sz="1600" b="1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194" y="1342593"/>
            <a:ext cx="2673251" cy="1817811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5691124" y="3108274"/>
            <a:ext cx="34528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 smtClean="0"/>
              <a:t>3- Soutien à la formation et à la certification </a:t>
            </a:r>
          </a:p>
          <a:p>
            <a:pPr algn="ctr"/>
            <a:r>
              <a:rPr lang="fr-CA" sz="1600" b="1" dirty="0" smtClean="0"/>
              <a:t>CBAP / PMI PBA</a:t>
            </a:r>
            <a:endParaRPr lang="fr-CA" sz="1600" b="1" dirty="0"/>
          </a:p>
        </p:txBody>
      </p:sp>
      <p:sp>
        <p:nvSpPr>
          <p:cNvPr id="11" name="ZoneTexte 10"/>
          <p:cNvSpPr txBox="1"/>
          <p:nvPr/>
        </p:nvSpPr>
        <p:spPr>
          <a:xfrm>
            <a:off x="1146979" y="5850335"/>
            <a:ext cx="30701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/>
              <a:t>4</a:t>
            </a:r>
            <a:r>
              <a:rPr lang="fr-CA" sz="1600" b="1" dirty="0" smtClean="0"/>
              <a:t>- Outil(s) de gestion automatisé(s) des exigences</a:t>
            </a:r>
            <a:endParaRPr lang="fr-CA" sz="1600" b="1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013" y="3693049"/>
            <a:ext cx="2204110" cy="220411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7217" y="3881555"/>
            <a:ext cx="2436131" cy="1827098"/>
          </a:xfrm>
          <a:prstGeom prst="rect">
            <a:avLst/>
          </a:prstGeom>
        </p:spPr>
      </p:pic>
      <p:sp>
        <p:nvSpPr>
          <p:cNvPr id="13" name="ZoneTexte 12"/>
          <p:cNvSpPr txBox="1"/>
          <p:nvPr/>
        </p:nvSpPr>
        <p:spPr>
          <a:xfrm>
            <a:off x="5060193" y="5881231"/>
            <a:ext cx="36743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600" b="1" dirty="0" smtClean="0"/>
              <a:t>5- Organisation d’un événement d’envergure réunissant </a:t>
            </a:r>
            <a:r>
              <a:rPr lang="fr-CA" sz="1600" b="1" u="sng" dirty="0" smtClean="0"/>
              <a:t>TOUS</a:t>
            </a:r>
            <a:r>
              <a:rPr lang="fr-CA" sz="1600" dirty="0" smtClean="0"/>
              <a:t> </a:t>
            </a:r>
            <a:r>
              <a:rPr lang="fr-CA" sz="1600" b="1" dirty="0" smtClean="0"/>
              <a:t>les analystes d’affaires</a:t>
            </a:r>
            <a:endParaRPr lang="fr-CA" sz="1600" b="1" dirty="0"/>
          </a:p>
        </p:txBody>
      </p:sp>
    </p:spTree>
    <p:extLst>
      <p:ext uri="{BB962C8B-B14F-4D97-AF65-F5344CB8AC3E}">
        <p14:creationId xmlns:p14="http://schemas.microsoft.com/office/powerpoint/2010/main" val="1187714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713B270-3779-476F-BF55-16F367D2169C}" type="slidenum">
              <a:rPr lang="fr-CA" smtClean="0"/>
              <a:pPr>
                <a:defRPr/>
              </a:pPr>
              <a:t>11</a:t>
            </a:fld>
            <a:endParaRPr lang="fr-CA" dirty="0"/>
          </a:p>
        </p:txBody>
      </p:sp>
      <p:sp>
        <p:nvSpPr>
          <p:cNvPr id="6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6221" y="2542725"/>
            <a:ext cx="6958392" cy="4030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179388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0000"/>
              </a:spcBef>
            </a:pPr>
            <a:r>
              <a:rPr lang="fr-CA" altLang="fr-FR" sz="4400" b="1" dirty="0" smtClean="0">
                <a:solidFill>
                  <a:srgbClr val="008B4B"/>
                </a:solidFill>
                <a:latin typeface="Trebuchet MS" pitchFamily="34" charset="0"/>
              </a:rPr>
              <a:t>Merci!</a:t>
            </a:r>
            <a:endParaRPr lang="fr-CA" altLang="fr-FR" sz="4400" b="1" dirty="0">
              <a:solidFill>
                <a:srgbClr val="008B4B"/>
              </a:solidFill>
              <a:latin typeface="Trebuchet MS" pitchFamily="34" charset="0"/>
            </a:endParaRPr>
          </a:p>
          <a:p>
            <a:pPr lvl="1" eaLnBrk="1" hangingPunct="1">
              <a:lnSpc>
                <a:spcPct val="90000"/>
              </a:lnSpc>
              <a:spcBef>
                <a:spcPct val="20000"/>
              </a:spcBef>
            </a:pPr>
            <a:endParaRPr lang="fr-CA" altLang="fr-FR" sz="2000" dirty="0">
              <a:latin typeface="Trebuchet MS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20000"/>
              </a:spcBef>
            </a:pPr>
            <a:r>
              <a:rPr lang="fr-CA" altLang="fr-FR" sz="2200" b="1" dirty="0" smtClean="0">
                <a:latin typeface="Trebuchet MS" pitchFamily="34" charset="0"/>
              </a:rPr>
              <a:t>Pour toute question, communiquer avez moi:</a:t>
            </a:r>
            <a:endParaRPr lang="fr-CA" altLang="fr-FR" sz="2200" b="1" dirty="0">
              <a:latin typeface="Trebuchet MS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20000"/>
              </a:spcBef>
            </a:pPr>
            <a:r>
              <a:rPr lang="fr-CA" altLang="fr-FR" sz="2200" b="1" u="sng" smtClean="0">
                <a:solidFill>
                  <a:srgbClr val="0033CC"/>
                </a:solidFill>
                <a:latin typeface="Trebuchet MS" pitchFamily="34" charset="0"/>
              </a:rPr>
              <a:t>Hoa.Tran@desjardins.com</a:t>
            </a:r>
            <a:endParaRPr lang="fr-CA" altLang="fr-FR" sz="2200" b="1" u="sng" dirty="0">
              <a:solidFill>
                <a:srgbClr val="0033CC"/>
              </a:solidFill>
              <a:latin typeface="Trebuchet MS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20000"/>
              </a:spcBef>
            </a:pPr>
            <a:endParaRPr lang="fr-CA" altLang="fr-FR" sz="2200" b="1" dirty="0">
              <a:latin typeface="Trebuchet MS" pitchFamily="34" charset="0"/>
            </a:endParaRPr>
          </a:p>
          <a:p>
            <a:pPr eaLnBrk="1" hangingPunct="1">
              <a:lnSpc>
                <a:spcPct val="90000"/>
              </a:lnSpc>
              <a:spcBef>
                <a:spcPct val="20000"/>
              </a:spcBef>
            </a:pPr>
            <a:endParaRPr lang="fr-CA" altLang="fr-FR" sz="2200" b="1" dirty="0">
              <a:solidFill>
                <a:srgbClr val="5454FF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4899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/>
            <a:fld id="{1E5E35A5-4A59-4026-8088-926C0ADFE7EA}" type="slidenum">
              <a:rPr lang="fr-CA" altLang="fr-FR" smtClean="0">
                <a:solidFill>
                  <a:schemeClr val="accent1"/>
                </a:solidFill>
              </a:rPr>
              <a:pPr eaLnBrk="1" hangingPunct="1"/>
              <a:t>2</a:t>
            </a:fld>
            <a:endParaRPr lang="fr-CA" altLang="fr-FR" smtClean="0">
              <a:solidFill>
                <a:schemeClr val="accent1"/>
              </a:solidFill>
            </a:endParaRPr>
          </a:p>
        </p:txBody>
      </p:sp>
      <p:sp>
        <p:nvSpPr>
          <p:cNvPr id="10249" name="ZoneTexte 2"/>
          <p:cNvSpPr txBox="1">
            <a:spLocks noChangeArrowheads="1"/>
          </p:cNvSpPr>
          <p:nvPr/>
        </p:nvSpPr>
        <p:spPr bwMode="auto">
          <a:xfrm>
            <a:off x="381000" y="-23203"/>
            <a:ext cx="6711950" cy="979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800" b="1" dirty="0">
                <a:solidFill>
                  <a:schemeClr val="bg1"/>
                </a:solidFill>
              </a:rPr>
              <a:t>Qui sommes-nous?</a:t>
            </a:r>
          </a:p>
        </p:txBody>
      </p:sp>
      <p:sp>
        <p:nvSpPr>
          <p:cNvPr id="10252" name="ZoneTexte 3"/>
          <p:cNvSpPr txBox="1">
            <a:spLocks noChangeArrowheads="1"/>
          </p:cNvSpPr>
          <p:nvPr/>
        </p:nvSpPr>
        <p:spPr bwMode="auto">
          <a:xfrm>
            <a:off x="7335838" y="365125"/>
            <a:ext cx="14922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/>
            <a:r>
              <a:rPr lang="fr-CA" altLang="fr-FR" sz="1400" b="1">
                <a:solidFill>
                  <a:schemeClr val="bg1"/>
                </a:solidFill>
              </a:rPr>
              <a:t>Conférenciers</a:t>
            </a:r>
          </a:p>
        </p:txBody>
      </p:sp>
      <p:cxnSp>
        <p:nvCxnSpPr>
          <p:cNvPr id="47" name="Straight Connector 4"/>
          <p:cNvCxnSpPr/>
          <p:nvPr/>
        </p:nvCxnSpPr>
        <p:spPr>
          <a:xfrm>
            <a:off x="0" y="2173288"/>
            <a:ext cx="9144000" cy="9525"/>
          </a:xfrm>
          <a:prstGeom prst="line">
            <a:avLst/>
          </a:prstGeom>
          <a:noFill/>
          <a:ln w="187325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</a:ln>
          <a:effectLst>
            <a:outerShdw blurRad="50800" dist="266700" dir="5400000" algn="t" rotWithShape="0">
              <a:prstClr val="black">
                <a:alpha val="11000"/>
              </a:prstClr>
            </a:outerShdw>
          </a:effectLst>
        </p:spPr>
      </p:cxnSp>
      <p:grpSp>
        <p:nvGrpSpPr>
          <p:cNvPr id="48" name="Group 148"/>
          <p:cNvGrpSpPr>
            <a:grpSpLocks noChangeAspect="1"/>
          </p:cNvGrpSpPr>
          <p:nvPr/>
        </p:nvGrpSpPr>
        <p:grpSpPr bwMode="auto">
          <a:xfrm rot="-199347">
            <a:off x="703695" y="1955799"/>
            <a:ext cx="3841750" cy="3186113"/>
            <a:chOff x="1722" y="380"/>
            <a:chExt cx="4236" cy="3560"/>
          </a:xfrm>
        </p:grpSpPr>
        <p:sp>
          <p:nvSpPr>
            <p:cNvPr id="49" name="AutoShape 3"/>
            <p:cNvSpPr>
              <a:spLocks noChangeAspect="1" noChangeArrowheads="1" noTextEdit="1"/>
            </p:cNvSpPr>
            <p:nvPr/>
          </p:nvSpPr>
          <p:spPr bwMode="auto">
            <a:xfrm>
              <a:off x="1722" y="380"/>
              <a:ext cx="4236" cy="3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1722" y="1300"/>
              <a:ext cx="4236" cy="2638"/>
            </a:xfrm>
            <a:custGeom>
              <a:avLst/>
              <a:gdLst>
                <a:gd name="T0" fmla="*/ 4138 w 4236"/>
                <a:gd name="T1" fmla="*/ 0 h 2638"/>
                <a:gd name="T2" fmla="*/ 2182 w 4236"/>
                <a:gd name="T3" fmla="*/ 0 h 2638"/>
                <a:gd name="T4" fmla="*/ 2182 w 4236"/>
                <a:gd name="T5" fmla="*/ 0 h 2638"/>
                <a:gd name="T6" fmla="*/ 2170 w 4236"/>
                <a:gd name="T7" fmla="*/ 12 h 2638"/>
                <a:gd name="T8" fmla="*/ 2154 w 4236"/>
                <a:gd name="T9" fmla="*/ 22 h 2638"/>
                <a:gd name="T10" fmla="*/ 2136 w 4236"/>
                <a:gd name="T11" fmla="*/ 30 h 2638"/>
                <a:gd name="T12" fmla="*/ 2118 w 4236"/>
                <a:gd name="T13" fmla="*/ 32 h 2638"/>
                <a:gd name="T14" fmla="*/ 2118 w 4236"/>
                <a:gd name="T15" fmla="*/ 32 h 2638"/>
                <a:gd name="T16" fmla="*/ 2098 w 4236"/>
                <a:gd name="T17" fmla="*/ 30 h 2638"/>
                <a:gd name="T18" fmla="*/ 2080 w 4236"/>
                <a:gd name="T19" fmla="*/ 22 h 2638"/>
                <a:gd name="T20" fmla="*/ 2066 w 4236"/>
                <a:gd name="T21" fmla="*/ 12 h 2638"/>
                <a:gd name="T22" fmla="*/ 2052 w 4236"/>
                <a:gd name="T23" fmla="*/ 0 h 2638"/>
                <a:gd name="T24" fmla="*/ 98 w 4236"/>
                <a:gd name="T25" fmla="*/ 0 h 2638"/>
                <a:gd name="T26" fmla="*/ 98 w 4236"/>
                <a:gd name="T27" fmla="*/ 0 h 2638"/>
                <a:gd name="T28" fmla="*/ 78 w 4236"/>
                <a:gd name="T29" fmla="*/ 2 h 2638"/>
                <a:gd name="T30" fmla="*/ 60 w 4236"/>
                <a:gd name="T31" fmla="*/ 6 h 2638"/>
                <a:gd name="T32" fmla="*/ 42 w 4236"/>
                <a:gd name="T33" fmla="*/ 16 h 2638"/>
                <a:gd name="T34" fmla="*/ 28 w 4236"/>
                <a:gd name="T35" fmla="*/ 28 h 2638"/>
                <a:gd name="T36" fmla="*/ 16 w 4236"/>
                <a:gd name="T37" fmla="*/ 42 h 2638"/>
                <a:gd name="T38" fmla="*/ 8 w 4236"/>
                <a:gd name="T39" fmla="*/ 58 h 2638"/>
                <a:gd name="T40" fmla="*/ 2 w 4236"/>
                <a:gd name="T41" fmla="*/ 78 h 2638"/>
                <a:gd name="T42" fmla="*/ 0 w 4236"/>
                <a:gd name="T43" fmla="*/ 96 h 2638"/>
                <a:gd name="T44" fmla="*/ 0 w 4236"/>
                <a:gd name="T45" fmla="*/ 2540 h 2638"/>
                <a:gd name="T46" fmla="*/ 0 w 4236"/>
                <a:gd name="T47" fmla="*/ 2540 h 2638"/>
                <a:gd name="T48" fmla="*/ 2 w 4236"/>
                <a:gd name="T49" fmla="*/ 2560 h 2638"/>
                <a:gd name="T50" fmla="*/ 8 w 4236"/>
                <a:gd name="T51" fmla="*/ 2578 h 2638"/>
                <a:gd name="T52" fmla="*/ 16 w 4236"/>
                <a:gd name="T53" fmla="*/ 2596 h 2638"/>
                <a:gd name="T54" fmla="*/ 28 w 4236"/>
                <a:gd name="T55" fmla="*/ 2610 h 2638"/>
                <a:gd name="T56" fmla="*/ 42 w 4236"/>
                <a:gd name="T57" fmla="*/ 2622 h 2638"/>
                <a:gd name="T58" fmla="*/ 60 w 4236"/>
                <a:gd name="T59" fmla="*/ 2630 h 2638"/>
                <a:gd name="T60" fmla="*/ 78 w 4236"/>
                <a:gd name="T61" fmla="*/ 2636 h 2638"/>
                <a:gd name="T62" fmla="*/ 98 w 4236"/>
                <a:gd name="T63" fmla="*/ 2638 h 2638"/>
                <a:gd name="T64" fmla="*/ 4138 w 4236"/>
                <a:gd name="T65" fmla="*/ 2638 h 2638"/>
                <a:gd name="T66" fmla="*/ 4138 w 4236"/>
                <a:gd name="T67" fmla="*/ 2638 h 2638"/>
                <a:gd name="T68" fmla="*/ 4158 w 4236"/>
                <a:gd name="T69" fmla="*/ 2636 h 2638"/>
                <a:gd name="T70" fmla="*/ 4176 w 4236"/>
                <a:gd name="T71" fmla="*/ 2630 h 2638"/>
                <a:gd name="T72" fmla="*/ 4192 w 4236"/>
                <a:gd name="T73" fmla="*/ 2622 h 2638"/>
                <a:gd name="T74" fmla="*/ 4206 w 4236"/>
                <a:gd name="T75" fmla="*/ 2610 h 2638"/>
                <a:gd name="T76" fmla="*/ 4218 w 4236"/>
                <a:gd name="T77" fmla="*/ 2596 h 2638"/>
                <a:gd name="T78" fmla="*/ 4228 w 4236"/>
                <a:gd name="T79" fmla="*/ 2578 h 2638"/>
                <a:gd name="T80" fmla="*/ 4234 w 4236"/>
                <a:gd name="T81" fmla="*/ 2560 h 2638"/>
                <a:gd name="T82" fmla="*/ 4236 w 4236"/>
                <a:gd name="T83" fmla="*/ 2540 h 2638"/>
                <a:gd name="T84" fmla="*/ 4236 w 4236"/>
                <a:gd name="T85" fmla="*/ 96 h 2638"/>
                <a:gd name="T86" fmla="*/ 4236 w 4236"/>
                <a:gd name="T87" fmla="*/ 96 h 2638"/>
                <a:gd name="T88" fmla="*/ 4234 w 4236"/>
                <a:gd name="T89" fmla="*/ 78 h 2638"/>
                <a:gd name="T90" fmla="*/ 4228 w 4236"/>
                <a:gd name="T91" fmla="*/ 58 h 2638"/>
                <a:gd name="T92" fmla="*/ 4218 w 4236"/>
                <a:gd name="T93" fmla="*/ 42 h 2638"/>
                <a:gd name="T94" fmla="*/ 4206 w 4236"/>
                <a:gd name="T95" fmla="*/ 28 h 2638"/>
                <a:gd name="T96" fmla="*/ 4192 w 4236"/>
                <a:gd name="T97" fmla="*/ 16 h 2638"/>
                <a:gd name="T98" fmla="*/ 4176 w 4236"/>
                <a:gd name="T99" fmla="*/ 6 h 2638"/>
                <a:gd name="T100" fmla="*/ 4158 w 4236"/>
                <a:gd name="T101" fmla="*/ 2 h 2638"/>
                <a:gd name="T102" fmla="*/ 4138 w 4236"/>
                <a:gd name="T103" fmla="*/ 0 h 2638"/>
                <a:gd name="T104" fmla="*/ 4138 w 4236"/>
                <a:gd name="T105" fmla="*/ 0 h 2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6" h="2638">
                  <a:moveTo>
                    <a:pt x="4138" y="0"/>
                  </a:moveTo>
                  <a:lnTo>
                    <a:pt x="2182" y="0"/>
                  </a:lnTo>
                  <a:lnTo>
                    <a:pt x="2182" y="0"/>
                  </a:lnTo>
                  <a:lnTo>
                    <a:pt x="2170" y="12"/>
                  </a:lnTo>
                  <a:lnTo>
                    <a:pt x="2154" y="22"/>
                  </a:lnTo>
                  <a:lnTo>
                    <a:pt x="2136" y="30"/>
                  </a:lnTo>
                  <a:lnTo>
                    <a:pt x="2118" y="32"/>
                  </a:lnTo>
                  <a:lnTo>
                    <a:pt x="2118" y="32"/>
                  </a:lnTo>
                  <a:lnTo>
                    <a:pt x="2098" y="30"/>
                  </a:lnTo>
                  <a:lnTo>
                    <a:pt x="2080" y="22"/>
                  </a:lnTo>
                  <a:lnTo>
                    <a:pt x="2066" y="12"/>
                  </a:lnTo>
                  <a:lnTo>
                    <a:pt x="2052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78" y="2"/>
                  </a:lnTo>
                  <a:lnTo>
                    <a:pt x="60" y="6"/>
                  </a:lnTo>
                  <a:lnTo>
                    <a:pt x="42" y="16"/>
                  </a:lnTo>
                  <a:lnTo>
                    <a:pt x="28" y="28"/>
                  </a:lnTo>
                  <a:lnTo>
                    <a:pt x="16" y="42"/>
                  </a:lnTo>
                  <a:lnTo>
                    <a:pt x="8" y="58"/>
                  </a:lnTo>
                  <a:lnTo>
                    <a:pt x="2" y="78"/>
                  </a:lnTo>
                  <a:lnTo>
                    <a:pt x="0" y="96"/>
                  </a:lnTo>
                  <a:lnTo>
                    <a:pt x="0" y="2540"/>
                  </a:lnTo>
                  <a:lnTo>
                    <a:pt x="0" y="2540"/>
                  </a:lnTo>
                  <a:lnTo>
                    <a:pt x="2" y="2560"/>
                  </a:lnTo>
                  <a:lnTo>
                    <a:pt x="8" y="2578"/>
                  </a:lnTo>
                  <a:lnTo>
                    <a:pt x="16" y="2596"/>
                  </a:lnTo>
                  <a:lnTo>
                    <a:pt x="28" y="2610"/>
                  </a:lnTo>
                  <a:lnTo>
                    <a:pt x="42" y="2622"/>
                  </a:lnTo>
                  <a:lnTo>
                    <a:pt x="60" y="2630"/>
                  </a:lnTo>
                  <a:lnTo>
                    <a:pt x="78" y="2636"/>
                  </a:lnTo>
                  <a:lnTo>
                    <a:pt x="98" y="2638"/>
                  </a:lnTo>
                  <a:lnTo>
                    <a:pt x="4138" y="2638"/>
                  </a:lnTo>
                  <a:lnTo>
                    <a:pt x="4138" y="2638"/>
                  </a:lnTo>
                  <a:lnTo>
                    <a:pt x="4158" y="2636"/>
                  </a:lnTo>
                  <a:lnTo>
                    <a:pt x="4176" y="2630"/>
                  </a:lnTo>
                  <a:lnTo>
                    <a:pt x="4192" y="2622"/>
                  </a:lnTo>
                  <a:lnTo>
                    <a:pt x="4206" y="2610"/>
                  </a:lnTo>
                  <a:lnTo>
                    <a:pt x="4218" y="2596"/>
                  </a:lnTo>
                  <a:lnTo>
                    <a:pt x="4228" y="2578"/>
                  </a:lnTo>
                  <a:lnTo>
                    <a:pt x="4234" y="2560"/>
                  </a:lnTo>
                  <a:lnTo>
                    <a:pt x="4236" y="2540"/>
                  </a:lnTo>
                  <a:lnTo>
                    <a:pt x="4236" y="96"/>
                  </a:lnTo>
                  <a:lnTo>
                    <a:pt x="4236" y="96"/>
                  </a:lnTo>
                  <a:lnTo>
                    <a:pt x="4234" y="78"/>
                  </a:lnTo>
                  <a:lnTo>
                    <a:pt x="4228" y="58"/>
                  </a:lnTo>
                  <a:lnTo>
                    <a:pt x="4218" y="42"/>
                  </a:lnTo>
                  <a:lnTo>
                    <a:pt x="4206" y="28"/>
                  </a:lnTo>
                  <a:lnTo>
                    <a:pt x="4192" y="16"/>
                  </a:lnTo>
                  <a:lnTo>
                    <a:pt x="4176" y="6"/>
                  </a:lnTo>
                  <a:lnTo>
                    <a:pt x="4158" y="2"/>
                  </a:lnTo>
                  <a:lnTo>
                    <a:pt x="4138" y="0"/>
                  </a:lnTo>
                  <a:lnTo>
                    <a:pt x="4138" y="0"/>
                  </a:lnTo>
                  <a:close/>
                </a:path>
              </a:pathLst>
            </a:custGeom>
            <a:solidFill>
              <a:srgbClr val="A59E8F">
                <a:lumMod val="60000"/>
                <a:lumOff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51" name="Freeform 7"/>
            <p:cNvSpPr>
              <a:spLocks/>
            </p:cNvSpPr>
            <p:nvPr/>
          </p:nvSpPr>
          <p:spPr bwMode="auto">
            <a:xfrm>
              <a:off x="1786" y="2251"/>
              <a:ext cx="4105" cy="1616"/>
            </a:xfrm>
            <a:custGeom>
              <a:avLst/>
              <a:gdLst>
                <a:gd name="T0" fmla="*/ 0 w 4106"/>
                <a:gd name="T1" fmla="*/ 1582 h 1616"/>
                <a:gd name="T2" fmla="*/ 2 w 4106"/>
                <a:gd name="T3" fmla="*/ 1590 h 1616"/>
                <a:gd name="T4" fmla="*/ 6 w 4106"/>
                <a:gd name="T5" fmla="*/ 1600 h 1616"/>
                <a:gd name="T6" fmla="*/ 16 w 4106"/>
                <a:gd name="T7" fmla="*/ 1610 h 1616"/>
                <a:gd name="T8" fmla="*/ 26 w 4106"/>
                <a:gd name="T9" fmla="*/ 1614 h 1616"/>
                <a:gd name="T10" fmla="*/ 4074 w 4106"/>
                <a:gd name="T11" fmla="*/ 1616 h 1616"/>
                <a:gd name="T12" fmla="*/ 4080 w 4106"/>
                <a:gd name="T13" fmla="*/ 1614 h 1616"/>
                <a:gd name="T14" fmla="*/ 4092 w 4106"/>
                <a:gd name="T15" fmla="*/ 1610 h 1616"/>
                <a:gd name="T16" fmla="*/ 4100 w 4106"/>
                <a:gd name="T17" fmla="*/ 1600 h 1616"/>
                <a:gd name="T18" fmla="*/ 4106 w 4106"/>
                <a:gd name="T19" fmla="*/ 1590 h 1616"/>
                <a:gd name="T20" fmla="*/ 4106 w 4106"/>
                <a:gd name="T21" fmla="*/ 0 h 1616"/>
                <a:gd name="T22" fmla="*/ 4056 w 4106"/>
                <a:gd name="T23" fmla="*/ 44 h 1616"/>
                <a:gd name="T24" fmla="*/ 3952 w 4106"/>
                <a:gd name="T25" fmla="*/ 128 h 1616"/>
                <a:gd name="T26" fmla="*/ 3842 w 4106"/>
                <a:gd name="T27" fmla="*/ 206 h 1616"/>
                <a:gd name="T28" fmla="*/ 3730 w 4106"/>
                <a:gd name="T29" fmla="*/ 282 h 1616"/>
                <a:gd name="T30" fmla="*/ 3614 w 4106"/>
                <a:gd name="T31" fmla="*/ 352 h 1616"/>
                <a:gd name="T32" fmla="*/ 3492 w 4106"/>
                <a:gd name="T33" fmla="*/ 416 h 1616"/>
                <a:gd name="T34" fmla="*/ 3368 w 4106"/>
                <a:gd name="T35" fmla="*/ 476 h 1616"/>
                <a:gd name="T36" fmla="*/ 3240 w 4106"/>
                <a:gd name="T37" fmla="*/ 530 h 1616"/>
                <a:gd name="T38" fmla="*/ 3108 w 4106"/>
                <a:gd name="T39" fmla="*/ 580 h 1616"/>
                <a:gd name="T40" fmla="*/ 2974 w 4106"/>
                <a:gd name="T41" fmla="*/ 624 h 1616"/>
                <a:gd name="T42" fmla="*/ 2838 w 4106"/>
                <a:gd name="T43" fmla="*/ 662 h 1616"/>
                <a:gd name="T44" fmla="*/ 2698 w 4106"/>
                <a:gd name="T45" fmla="*/ 694 h 1616"/>
                <a:gd name="T46" fmla="*/ 2554 w 4106"/>
                <a:gd name="T47" fmla="*/ 720 h 1616"/>
                <a:gd name="T48" fmla="*/ 2410 w 4106"/>
                <a:gd name="T49" fmla="*/ 738 h 1616"/>
                <a:gd name="T50" fmla="*/ 2262 w 4106"/>
                <a:gd name="T51" fmla="*/ 752 h 1616"/>
                <a:gd name="T52" fmla="*/ 2112 w 4106"/>
                <a:gd name="T53" fmla="*/ 758 h 1616"/>
                <a:gd name="T54" fmla="*/ 2038 w 4106"/>
                <a:gd name="T55" fmla="*/ 760 h 1616"/>
                <a:gd name="T56" fmla="*/ 1890 w 4106"/>
                <a:gd name="T57" fmla="*/ 756 h 1616"/>
                <a:gd name="T58" fmla="*/ 1744 w 4106"/>
                <a:gd name="T59" fmla="*/ 746 h 1616"/>
                <a:gd name="T60" fmla="*/ 1602 w 4106"/>
                <a:gd name="T61" fmla="*/ 732 h 1616"/>
                <a:gd name="T62" fmla="*/ 1460 w 4106"/>
                <a:gd name="T63" fmla="*/ 710 h 1616"/>
                <a:gd name="T64" fmla="*/ 1322 w 4106"/>
                <a:gd name="T65" fmla="*/ 682 h 1616"/>
                <a:gd name="T66" fmla="*/ 1184 w 4106"/>
                <a:gd name="T67" fmla="*/ 648 h 1616"/>
                <a:gd name="T68" fmla="*/ 1052 w 4106"/>
                <a:gd name="T69" fmla="*/ 608 h 1616"/>
                <a:gd name="T70" fmla="*/ 920 w 4106"/>
                <a:gd name="T71" fmla="*/ 564 h 1616"/>
                <a:gd name="T72" fmla="*/ 794 w 4106"/>
                <a:gd name="T73" fmla="*/ 514 h 1616"/>
                <a:gd name="T74" fmla="*/ 670 w 4106"/>
                <a:gd name="T75" fmla="*/ 458 h 1616"/>
                <a:gd name="T76" fmla="*/ 548 w 4106"/>
                <a:gd name="T77" fmla="*/ 398 h 1616"/>
                <a:gd name="T78" fmla="*/ 430 w 4106"/>
                <a:gd name="T79" fmla="*/ 334 h 1616"/>
                <a:gd name="T80" fmla="*/ 318 w 4106"/>
                <a:gd name="T81" fmla="*/ 264 h 1616"/>
                <a:gd name="T82" fmla="*/ 208 w 4106"/>
                <a:gd name="T83" fmla="*/ 190 h 1616"/>
                <a:gd name="T84" fmla="*/ 102 w 4106"/>
                <a:gd name="T85" fmla="*/ 112 h 1616"/>
                <a:gd name="T86" fmla="*/ 0 w 4106"/>
                <a:gd name="T87" fmla="*/ 28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06" h="1616">
                  <a:moveTo>
                    <a:pt x="0" y="28"/>
                  </a:moveTo>
                  <a:lnTo>
                    <a:pt x="0" y="1582"/>
                  </a:lnTo>
                  <a:lnTo>
                    <a:pt x="0" y="1582"/>
                  </a:lnTo>
                  <a:lnTo>
                    <a:pt x="2" y="1590"/>
                  </a:lnTo>
                  <a:lnTo>
                    <a:pt x="4" y="1596"/>
                  </a:lnTo>
                  <a:lnTo>
                    <a:pt x="6" y="1600"/>
                  </a:lnTo>
                  <a:lnTo>
                    <a:pt x="10" y="1606"/>
                  </a:lnTo>
                  <a:lnTo>
                    <a:pt x="16" y="1610"/>
                  </a:lnTo>
                  <a:lnTo>
                    <a:pt x="20" y="1612"/>
                  </a:lnTo>
                  <a:lnTo>
                    <a:pt x="26" y="1614"/>
                  </a:lnTo>
                  <a:lnTo>
                    <a:pt x="34" y="1616"/>
                  </a:lnTo>
                  <a:lnTo>
                    <a:pt x="4074" y="1616"/>
                  </a:lnTo>
                  <a:lnTo>
                    <a:pt x="4074" y="1616"/>
                  </a:lnTo>
                  <a:lnTo>
                    <a:pt x="4080" y="1614"/>
                  </a:lnTo>
                  <a:lnTo>
                    <a:pt x="4086" y="1612"/>
                  </a:lnTo>
                  <a:lnTo>
                    <a:pt x="4092" y="1610"/>
                  </a:lnTo>
                  <a:lnTo>
                    <a:pt x="4096" y="1606"/>
                  </a:lnTo>
                  <a:lnTo>
                    <a:pt x="4100" y="1600"/>
                  </a:lnTo>
                  <a:lnTo>
                    <a:pt x="4104" y="1596"/>
                  </a:lnTo>
                  <a:lnTo>
                    <a:pt x="4106" y="1590"/>
                  </a:lnTo>
                  <a:lnTo>
                    <a:pt x="4106" y="1582"/>
                  </a:lnTo>
                  <a:lnTo>
                    <a:pt x="4106" y="0"/>
                  </a:lnTo>
                  <a:lnTo>
                    <a:pt x="4106" y="0"/>
                  </a:lnTo>
                  <a:lnTo>
                    <a:pt x="4056" y="44"/>
                  </a:lnTo>
                  <a:lnTo>
                    <a:pt x="4004" y="86"/>
                  </a:lnTo>
                  <a:lnTo>
                    <a:pt x="3952" y="128"/>
                  </a:lnTo>
                  <a:lnTo>
                    <a:pt x="3898" y="168"/>
                  </a:lnTo>
                  <a:lnTo>
                    <a:pt x="3842" y="206"/>
                  </a:lnTo>
                  <a:lnTo>
                    <a:pt x="3786" y="244"/>
                  </a:lnTo>
                  <a:lnTo>
                    <a:pt x="3730" y="282"/>
                  </a:lnTo>
                  <a:lnTo>
                    <a:pt x="3672" y="316"/>
                  </a:lnTo>
                  <a:lnTo>
                    <a:pt x="3614" y="352"/>
                  </a:lnTo>
                  <a:lnTo>
                    <a:pt x="3554" y="384"/>
                  </a:lnTo>
                  <a:lnTo>
                    <a:pt x="3492" y="416"/>
                  </a:lnTo>
                  <a:lnTo>
                    <a:pt x="3430" y="446"/>
                  </a:lnTo>
                  <a:lnTo>
                    <a:pt x="3368" y="476"/>
                  </a:lnTo>
                  <a:lnTo>
                    <a:pt x="3304" y="504"/>
                  </a:lnTo>
                  <a:lnTo>
                    <a:pt x="3240" y="530"/>
                  </a:lnTo>
                  <a:lnTo>
                    <a:pt x="3174" y="556"/>
                  </a:lnTo>
                  <a:lnTo>
                    <a:pt x="3108" y="580"/>
                  </a:lnTo>
                  <a:lnTo>
                    <a:pt x="3042" y="602"/>
                  </a:lnTo>
                  <a:lnTo>
                    <a:pt x="2974" y="624"/>
                  </a:lnTo>
                  <a:lnTo>
                    <a:pt x="2906" y="644"/>
                  </a:lnTo>
                  <a:lnTo>
                    <a:pt x="2838" y="662"/>
                  </a:lnTo>
                  <a:lnTo>
                    <a:pt x="2768" y="678"/>
                  </a:lnTo>
                  <a:lnTo>
                    <a:pt x="2698" y="694"/>
                  </a:lnTo>
                  <a:lnTo>
                    <a:pt x="2626" y="708"/>
                  </a:lnTo>
                  <a:lnTo>
                    <a:pt x="2554" y="720"/>
                  </a:lnTo>
                  <a:lnTo>
                    <a:pt x="2482" y="730"/>
                  </a:lnTo>
                  <a:lnTo>
                    <a:pt x="2410" y="738"/>
                  </a:lnTo>
                  <a:lnTo>
                    <a:pt x="2336" y="746"/>
                  </a:lnTo>
                  <a:lnTo>
                    <a:pt x="2262" y="752"/>
                  </a:lnTo>
                  <a:lnTo>
                    <a:pt x="2188" y="756"/>
                  </a:lnTo>
                  <a:lnTo>
                    <a:pt x="2112" y="758"/>
                  </a:lnTo>
                  <a:lnTo>
                    <a:pt x="2038" y="760"/>
                  </a:lnTo>
                  <a:lnTo>
                    <a:pt x="2038" y="760"/>
                  </a:lnTo>
                  <a:lnTo>
                    <a:pt x="1964" y="758"/>
                  </a:lnTo>
                  <a:lnTo>
                    <a:pt x="1890" y="756"/>
                  </a:lnTo>
                  <a:lnTo>
                    <a:pt x="1816" y="752"/>
                  </a:lnTo>
                  <a:lnTo>
                    <a:pt x="1744" y="746"/>
                  </a:lnTo>
                  <a:lnTo>
                    <a:pt x="1672" y="740"/>
                  </a:lnTo>
                  <a:lnTo>
                    <a:pt x="1602" y="732"/>
                  </a:lnTo>
                  <a:lnTo>
                    <a:pt x="1530" y="720"/>
                  </a:lnTo>
                  <a:lnTo>
                    <a:pt x="1460" y="710"/>
                  </a:lnTo>
                  <a:lnTo>
                    <a:pt x="1390" y="696"/>
                  </a:lnTo>
                  <a:lnTo>
                    <a:pt x="1322" y="682"/>
                  </a:lnTo>
                  <a:lnTo>
                    <a:pt x="1252" y="666"/>
                  </a:lnTo>
                  <a:lnTo>
                    <a:pt x="1184" y="648"/>
                  </a:lnTo>
                  <a:lnTo>
                    <a:pt x="1118" y="628"/>
                  </a:lnTo>
                  <a:lnTo>
                    <a:pt x="1052" y="608"/>
                  </a:lnTo>
                  <a:lnTo>
                    <a:pt x="986" y="586"/>
                  </a:lnTo>
                  <a:lnTo>
                    <a:pt x="920" y="564"/>
                  </a:lnTo>
                  <a:lnTo>
                    <a:pt x="856" y="540"/>
                  </a:lnTo>
                  <a:lnTo>
                    <a:pt x="794" y="514"/>
                  </a:lnTo>
                  <a:lnTo>
                    <a:pt x="730" y="486"/>
                  </a:lnTo>
                  <a:lnTo>
                    <a:pt x="670" y="458"/>
                  </a:lnTo>
                  <a:lnTo>
                    <a:pt x="608" y="430"/>
                  </a:lnTo>
                  <a:lnTo>
                    <a:pt x="548" y="398"/>
                  </a:lnTo>
                  <a:lnTo>
                    <a:pt x="490" y="366"/>
                  </a:lnTo>
                  <a:lnTo>
                    <a:pt x="430" y="334"/>
                  </a:lnTo>
                  <a:lnTo>
                    <a:pt x="374" y="300"/>
                  </a:lnTo>
                  <a:lnTo>
                    <a:pt x="318" y="264"/>
                  </a:lnTo>
                  <a:lnTo>
                    <a:pt x="262" y="228"/>
                  </a:lnTo>
                  <a:lnTo>
                    <a:pt x="208" y="190"/>
                  </a:lnTo>
                  <a:lnTo>
                    <a:pt x="154" y="150"/>
                  </a:lnTo>
                  <a:lnTo>
                    <a:pt x="102" y="112"/>
                  </a:lnTo>
                  <a:lnTo>
                    <a:pt x="52" y="7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59E8F">
                    <a:lumMod val="20000"/>
                    <a:lumOff val="80000"/>
                  </a:srgbClr>
                </a:gs>
                <a:gs pos="100000">
                  <a:srgbClr val="A59E8F">
                    <a:lumMod val="40000"/>
                    <a:lumOff val="60000"/>
                  </a:srgbClr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52" name="Freeform 8"/>
            <p:cNvSpPr>
              <a:spLocks/>
            </p:cNvSpPr>
            <p:nvPr/>
          </p:nvSpPr>
          <p:spPr bwMode="auto">
            <a:xfrm>
              <a:off x="1759" y="1334"/>
              <a:ext cx="4105" cy="1653"/>
            </a:xfrm>
            <a:custGeom>
              <a:avLst/>
              <a:gdLst>
                <a:gd name="T0" fmla="*/ 34 w 4106"/>
                <a:gd name="T1" fmla="*/ 0 h 1654"/>
                <a:gd name="T2" fmla="*/ 26 w 4106"/>
                <a:gd name="T3" fmla="*/ 2 h 1654"/>
                <a:gd name="T4" fmla="*/ 16 w 4106"/>
                <a:gd name="T5" fmla="*/ 6 h 1654"/>
                <a:gd name="T6" fmla="*/ 6 w 4106"/>
                <a:gd name="T7" fmla="*/ 14 h 1654"/>
                <a:gd name="T8" fmla="*/ 2 w 4106"/>
                <a:gd name="T9" fmla="*/ 26 h 1654"/>
                <a:gd name="T10" fmla="*/ 0 w 4106"/>
                <a:gd name="T11" fmla="*/ 922 h 1654"/>
                <a:gd name="T12" fmla="*/ 52 w 4106"/>
                <a:gd name="T13" fmla="*/ 964 h 1654"/>
                <a:gd name="T14" fmla="*/ 154 w 4106"/>
                <a:gd name="T15" fmla="*/ 1044 h 1654"/>
                <a:gd name="T16" fmla="*/ 262 w 4106"/>
                <a:gd name="T17" fmla="*/ 1122 h 1654"/>
                <a:gd name="T18" fmla="*/ 374 w 4106"/>
                <a:gd name="T19" fmla="*/ 1194 h 1654"/>
                <a:gd name="T20" fmla="*/ 490 w 4106"/>
                <a:gd name="T21" fmla="*/ 1260 h 1654"/>
                <a:gd name="T22" fmla="*/ 608 w 4106"/>
                <a:gd name="T23" fmla="*/ 1324 h 1654"/>
                <a:gd name="T24" fmla="*/ 730 w 4106"/>
                <a:gd name="T25" fmla="*/ 1380 h 1654"/>
                <a:gd name="T26" fmla="*/ 856 w 4106"/>
                <a:gd name="T27" fmla="*/ 1434 h 1654"/>
                <a:gd name="T28" fmla="*/ 986 w 4106"/>
                <a:gd name="T29" fmla="*/ 1480 h 1654"/>
                <a:gd name="T30" fmla="*/ 1118 w 4106"/>
                <a:gd name="T31" fmla="*/ 1522 h 1654"/>
                <a:gd name="T32" fmla="*/ 1252 w 4106"/>
                <a:gd name="T33" fmla="*/ 1560 h 1654"/>
                <a:gd name="T34" fmla="*/ 1390 w 4106"/>
                <a:gd name="T35" fmla="*/ 1590 h 1654"/>
                <a:gd name="T36" fmla="*/ 1530 w 4106"/>
                <a:gd name="T37" fmla="*/ 1614 h 1654"/>
                <a:gd name="T38" fmla="*/ 1672 w 4106"/>
                <a:gd name="T39" fmla="*/ 1634 h 1654"/>
                <a:gd name="T40" fmla="*/ 1816 w 4106"/>
                <a:gd name="T41" fmla="*/ 1646 h 1654"/>
                <a:gd name="T42" fmla="*/ 1964 w 4106"/>
                <a:gd name="T43" fmla="*/ 1652 h 1654"/>
                <a:gd name="T44" fmla="*/ 2038 w 4106"/>
                <a:gd name="T45" fmla="*/ 1654 h 1654"/>
                <a:gd name="T46" fmla="*/ 2188 w 4106"/>
                <a:gd name="T47" fmla="*/ 1650 h 1654"/>
                <a:gd name="T48" fmla="*/ 2336 w 4106"/>
                <a:gd name="T49" fmla="*/ 1640 h 1654"/>
                <a:gd name="T50" fmla="*/ 2482 w 4106"/>
                <a:gd name="T51" fmla="*/ 1624 h 1654"/>
                <a:gd name="T52" fmla="*/ 2626 w 4106"/>
                <a:gd name="T53" fmla="*/ 1602 h 1654"/>
                <a:gd name="T54" fmla="*/ 2768 w 4106"/>
                <a:gd name="T55" fmla="*/ 1572 h 1654"/>
                <a:gd name="T56" fmla="*/ 2906 w 4106"/>
                <a:gd name="T57" fmla="*/ 1538 h 1654"/>
                <a:gd name="T58" fmla="*/ 3042 w 4106"/>
                <a:gd name="T59" fmla="*/ 1496 h 1654"/>
                <a:gd name="T60" fmla="*/ 3174 w 4106"/>
                <a:gd name="T61" fmla="*/ 1450 h 1654"/>
                <a:gd name="T62" fmla="*/ 3304 w 4106"/>
                <a:gd name="T63" fmla="*/ 1398 h 1654"/>
                <a:gd name="T64" fmla="*/ 3430 w 4106"/>
                <a:gd name="T65" fmla="*/ 1340 h 1654"/>
                <a:gd name="T66" fmla="*/ 3554 w 4106"/>
                <a:gd name="T67" fmla="*/ 1278 h 1654"/>
                <a:gd name="T68" fmla="*/ 3672 w 4106"/>
                <a:gd name="T69" fmla="*/ 1210 h 1654"/>
                <a:gd name="T70" fmla="*/ 3786 w 4106"/>
                <a:gd name="T71" fmla="*/ 1138 h 1654"/>
                <a:gd name="T72" fmla="*/ 3898 w 4106"/>
                <a:gd name="T73" fmla="*/ 1062 h 1654"/>
                <a:gd name="T74" fmla="*/ 4004 w 4106"/>
                <a:gd name="T75" fmla="*/ 980 h 1654"/>
                <a:gd name="T76" fmla="*/ 4106 w 4106"/>
                <a:gd name="T77" fmla="*/ 894 h 1654"/>
                <a:gd name="T78" fmla="*/ 4106 w 4106"/>
                <a:gd name="T79" fmla="*/ 32 h 1654"/>
                <a:gd name="T80" fmla="*/ 4104 w 4106"/>
                <a:gd name="T81" fmla="*/ 20 h 1654"/>
                <a:gd name="T82" fmla="*/ 4096 w 4106"/>
                <a:gd name="T83" fmla="*/ 10 h 1654"/>
                <a:gd name="T84" fmla="*/ 4086 w 4106"/>
                <a:gd name="T85" fmla="*/ 2 h 1654"/>
                <a:gd name="T86" fmla="*/ 4074 w 4106"/>
                <a:gd name="T87" fmla="*/ 0 h 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06" h="1654">
                  <a:moveTo>
                    <a:pt x="4074" y="0"/>
                  </a:moveTo>
                  <a:lnTo>
                    <a:pt x="3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20" y="2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4"/>
                  </a:lnTo>
                  <a:lnTo>
                    <a:pt x="4" y="20"/>
                  </a:lnTo>
                  <a:lnTo>
                    <a:pt x="2" y="26"/>
                  </a:lnTo>
                  <a:lnTo>
                    <a:pt x="0" y="32"/>
                  </a:lnTo>
                  <a:lnTo>
                    <a:pt x="0" y="922"/>
                  </a:lnTo>
                  <a:lnTo>
                    <a:pt x="0" y="922"/>
                  </a:lnTo>
                  <a:lnTo>
                    <a:pt x="52" y="964"/>
                  </a:lnTo>
                  <a:lnTo>
                    <a:pt x="102" y="1006"/>
                  </a:lnTo>
                  <a:lnTo>
                    <a:pt x="154" y="1044"/>
                  </a:lnTo>
                  <a:lnTo>
                    <a:pt x="208" y="1084"/>
                  </a:lnTo>
                  <a:lnTo>
                    <a:pt x="262" y="1122"/>
                  </a:lnTo>
                  <a:lnTo>
                    <a:pt x="318" y="1158"/>
                  </a:lnTo>
                  <a:lnTo>
                    <a:pt x="374" y="1194"/>
                  </a:lnTo>
                  <a:lnTo>
                    <a:pt x="430" y="1228"/>
                  </a:lnTo>
                  <a:lnTo>
                    <a:pt x="490" y="1260"/>
                  </a:lnTo>
                  <a:lnTo>
                    <a:pt x="548" y="1292"/>
                  </a:lnTo>
                  <a:lnTo>
                    <a:pt x="608" y="1324"/>
                  </a:lnTo>
                  <a:lnTo>
                    <a:pt x="670" y="1352"/>
                  </a:lnTo>
                  <a:lnTo>
                    <a:pt x="730" y="1380"/>
                  </a:lnTo>
                  <a:lnTo>
                    <a:pt x="794" y="1408"/>
                  </a:lnTo>
                  <a:lnTo>
                    <a:pt x="856" y="1434"/>
                  </a:lnTo>
                  <a:lnTo>
                    <a:pt x="920" y="1458"/>
                  </a:lnTo>
                  <a:lnTo>
                    <a:pt x="986" y="1480"/>
                  </a:lnTo>
                  <a:lnTo>
                    <a:pt x="1052" y="1502"/>
                  </a:lnTo>
                  <a:lnTo>
                    <a:pt x="1118" y="1522"/>
                  </a:lnTo>
                  <a:lnTo>
                    <a:pt x="1184" y="1542"/>
                  </a:lnTo>
                  <a:lnTo>
                    <a:pt x="1252" y="1560"/>
                  </a:lnTo>
                  <a:lnTo>
                    <a:pt x="1322" y="1576"/>
                  </a:lnTo>
                  <a:lnTo>
                    <a:pt x="1390" y="1590"/>
                  </a:lnTo>
                  <a:lnTo>
                    <a:pt x="1460" y="1604"/>
                  </a:lnTo>
                  <a:lnTo>
                    <a:pt x="1530" y="1614"/>
                  </a:lnTo>
                  <a:lnTo>
                    <a:pt x="1602" y="1626"/>
                  </a:lnTo>
                  <a:lnTo>
                    <a:pt x="1672" y="1634"/>
                  </a:lnTo>
                  <a:lnTo>
                    <a:pt x="1744" y="1640"/>
                  </a:lnTo>
                  <a:lnTo>
                    <a:pt x="1816" y="1646"/>
                  </a:lnTo>
                  <a:lnTo>
                    <a:pt x="1890" y="1650"/>
                  </a:lnTo>
                  <a:lnTo>
                    <a:pt x="1964" y="1652"/>
                  </a:lnTo>
                  <a:lnTo>
                    <a:pt x="2038" y="1654"/>
                  </a:lnTo>
                  <a:lnTo>
                    <a:pt x="2038" y="1654"/>
                  </a:lnTo>
                  <a:lnTo>
                    <a:pt x="2112" y="1652"/>
                  </a:lnTo>
                  <a:lnTo>
                    <a:pt x="2188" y="1650"/>
                  </a:lnTo>
                  <a:lnTo>
                    <a:pt x="2262" y="1646"/>
                  </a:lnTo>
                  <a:lnTo>
                    <a:pt x="2336" y="1640"/>
                  </a:lnTo>
                  <a:lnTo>
                    <a:pt x="2410" y="1632"/>
                  </a:lnTo>
                  <a:lnTo>
                    <a:pt x="2482" y="1624"/>
                  </a:lnTo>
                  <a:lnTo>
                    <a:pt x="2554" y="1614"/>
                  </a:lnTo>
                  <a:lnTo>
                    <a:pt x="2626" y="1602"/>
                  </a:lnTo>
                  <a:lnTo>
                    <a:pt x="2698" y="1588"/>
                  </a:lnTo>
                  <a:lnTo>
                    <a:pt x="2768" y="1572"/>
                  </a:lnTo>
                  <a:lnTo>
                    <a:pt x="2838" y="1556"/>
                  </a:lnTo>
                  <a:lnTo>
                    <a:pt x="2906" y="1538"/>
                  </a:lnTo>
                  <a:lnTo>
                    <a:pt x="2974" y="1518"/>
                  </a:lnTo>
                  <a:lnTo>
                    <a:pt x="3042" y="1496"/>
                  </a:lnTo>
                  <a:lnTo>
                    <a:pt x="3108" y="1474"/>
                  </a:lnTo>
                  <a:lnTo>
                    <a:pt x="3174" y="1450"/>
                  </a:lnTo>
                  <a:lnTo>
                    <a:pt x="3240" y="1424"/>
                  </a:lnTo>
                  <a:lnTo>
                    <a:pt x="3304" y="1398"/>
                  </a:lnTo>
                  <a:lnTo>
                    <a:pt x="3368" y="1370"/>
                  </a:lnTo>
                  <a:lnTo>
                    <a:pt x="3430" y="1340"/>
                  </a:lnTo>
                  <a:lnTo>
                    <a:pt x="3492" y="1310"/>
                  </a:lnTo>
                  <a:lnTo>
                    <a:pt x="3554" y="1278"/>
                  </a:lnTo>
                  <a:lnTo>
                    <a:pt x="3614" y="1246"/>
                  </a:lnTo>
                  <a:lnTo>
                    <a:pt x="3672" y="1210"/>
                  </a:lnTo>
                  <a:lnTo>
                    <a:pt x="3730" y="1176"/>
                  </a:lnTo>
                  <a:lnTo>
                    <a:pt x="3786" y="1138"/>
                  </a:lnTo>
                  <a:lnTo>
                    <a:pt x="3842" y="1100"/>
                  </a:lnTo>
                  <a:lnTo>
                    <a:pt x="3898" y="1062"/>
                  </a:lnTo>
                  <a:lnTo>
                    <a:pt x="3952" y="1022"/>
                  </a:lnTo>
                  <a:lnTo>
                    <a:pt x="4004" y="980"/>
                  </a:lnTo>
                  <a:lnTo>
                    <a:pt x="4056" y="938"/>
                  </a:lnTo>
                  <a:lnTo>
                    <a:pt x="4106" y="894"/>
                  </a:lnTo>
                  <a:lnTo>
                    <a:pt x="4106" y="32"/>
                  </a:lnTo>
                  <a:lnTo>
                    <a:pt x="4106" y="32"/>
                  </a:lnTo>
                  <a:lnTo>
                    <a:pt x="4106" y="26"/>
                  </a:lnTo>
                  <a:lnTo>
                    <a:pt x="4104" y="20"/>
                  </a:lnTo>
                  <a:lnTo>
                    <a:pt x="4100" y="14"/>
                  </a:lnTo>
                  <a:lnTo>
                    <a:pt x="4096" y="10"/>
                  </a:lnTo>
                  <a:lnTo>
                    <a:pt x="4092" y="6"/>
                  </a:lnTo>
                  <a:lnTo>
                    <a:pt x="4086" y="2"/>
                  </a:lnTo>
                  <a:lnTo>
                    <a:pt x="4080" y="2"/>
                  </a:lnTo>
                  <a:lnTo>
                    <a:pt x="4074" y="0"/>
                  </a:lnTo>
                  <a:lnTo>
                    <a:pt x="407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59E8F">
                    <a:lumMod val="5000"/>
                    <a:lumOff val="95000"/>
                  </a:srgbClr>
                </a:gs>
                <a:gs pos="94000">
                  <a:srgbClr val="A59E8F">
                    <a:lumMod val="40000"/>
                    <a:lumOff val="60000"/>
                  </a:srgbClr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53" name="Freeform 9"/>
            <p:cNvSpPr>
              <a:spLocks noEditPoints="1"/>
            </p:cNvSpPr>
            <p:nvPr/>
          </p:nvSpPr>
          <p:spPr bwMode="auto">
            <a:xfrm>
              <a:off x="3293" y="1100"/>
              <a:ext cx="1075" cy="390"/>
            </a:xfrm>
            <a:custGeom>
              <a:avLst/>
              <a:gdLst>
                <a:gd name="T0" fmla="*/ 98 w 1076"/>
                <a:gd name="T1" fmla="*/ 0 h 390"/>
                <a:gd name="T2" fmla="*/ 78 w 1076"/>
                <a:gd name="T3" fmla="*/ 2 h 390"/>
                <a:gd name="T4" fmla="*/ 44 w 1076"/>
                <a:gd name="T5" fmla="*/ 16 h 390"/>
                <a:gd name="T6" fmla="*/ 16 w 1076"/>
                <a:gd name="T7" fmla="*/ 44 h 390"/>
                <a:gd name="T8" fmla="*/ 2 w 1076"/>
                <a:gd name="T9" fmla="*/ 78 h 390"/>
                <a:gd name="T10" fmla="*/ 0 w 1076"/>
                <a:gd name="T11" fmla="*/ 294 h 390"/>
                <a:gd name="T12" fmla="*/ 2 w 1076"/>
                <a:gd name="T13" fmla="*/ 312 h 390"/>
                <a:gd name="T14" fmla="*/ 16 w 1076"/>
                <a:gd name="T15" fmla="*/ 348 h 390"/>
                <a:gd name="T16" fmla="*/ 44 w 1076"/>
                <a:gd name="T17" fmla="*/ 374 h 390"/>
                <a:gd name="T18" fmla="*/ 78 w 1076"/>
                <a:gd name="T19" fmla="*/ 388 h 390"/>
                <a:gd name="T20" fmla="*/ 978 w 1076"/>
                <a:gd name="T21" fmla="*/ 390 h 390"/>
                <a:gd name="T22" fmla="*/ 998 w 1076"/>
                <a:gd name="T23" fmla="*/ 388 h 390"/>
                <a:gd name="T24" fmla="*/ 1032 w 1076"/>
                <a:gd name="T25" fmla="*/ 374 h 390"/>
                <a:gd name="T26" fmla="*/ 1058 w 1076"/>
                <a:gd name="T27" fmla="*/ 348 h 390"/>
                <a:gd name="T28" fmla="*/ 1074 w 1076"/>
                <a:gd name="T29" fmla="*/ 312 h 390"/>
                <a:gd name="T30" fmla="*/ 1076 w 1076"/>
                <a:gd name="T31" fmla="*/ 98 h 390"/>
                <a:gd name="T32" fmla="*/ 1074 w 1076"/>
                <a:gd name="T33" fmla="*/ 78 h 390"/>
                <a:gd name="T34" fmla="*/ 1058 w 1076"/>
                <a:gd name="T35" fmla="*/ 44 h 390"/>
                <a:gd name="T36" fmla="*/ 1032 w 1076"/>
                <a:gd name="T37" fmla="*/ 16 h 390"/>
                <a:gd name="T38" fmla="*/ 998 w 1076"/>
                <a:gd name="T39" fmla="*/ 2 h 390"/>
                <a:gd name="T40" fmla="*/ 978 w 1076"/>
                <a:gd name="T41" fmla="*/ 0 h 390"/>
                <a:gd name="T42" fmla="*/ 538 w 1076"/>
                <a:gd name="T43" fmla="*/ 212 h 390"/>
                <a:gd name="T44" fmla="*/ 506 w 1076"/>
                <a:gd name="T45" fmla="*/ 206 h 390"/>
                <a:gd name="T46" fmla="*/ 480 w 1076"/>
                <a:gd name="T47" fmla="*/ 188 h 390"/>
                <a:gd name="T48" fmla="*/ 462 w 1076"/>
                <a:gd name="T49" fmla="*/ 162 h 390"/>
                <a:gd name="T50" fmla="*/ 456 w 1076"/>
                <a:gd name="T51" fmla="*/ 130 h 390"/>
                <a:gd name="T52" fmla="*/ 458 w 1076"/>
                <a:gd name="T53" fmla="*/ 114 h 390"/>
                <a:gd name="T54" fmla="*/ 470 w 1076"/>
                <a:gd name="T55" fmla="*/ 84 h 390"/>
                <a:gd name="T56" fmla="*/ 492 w 1076"/>
                <a:gd name="T57" fmla="*/ 62 h 390"/>
                <a:gd name="T58" fmla="*/ 522 w 1076"/>
                <a:gd name="T59" fmla="*/ 50 h 390"/>
                <a:gd name="T60" fmla="*/ 538 w 1076"/>
                <a:gd name="T61" fmla="*/ 48 h 390"/>
                <a:gd name="T62" fmla="*/ 570 w 1076"/>
                <a:gd name="T63" fmla="*/ 56 h 390"/>
                <a:gd name="T64" fmla="*/ 596 w 1076"/>
                <a:gd name="T65" fmla="*/ 72 h 390"/>
                <a:gd name="T66" fmla="*/ 612 w 1076"/>
                <a:gd name="T67" fmla="*/ 98 h 390"/>
                <a:gd name="T68" fmla="*/ 618 w 1076"/>
                <a:gd name="T69" fmla="*/ 130 h 390"/>
                <a:gd name="T70" fmla="*/ 618 w 1076"/>
                <a:gd name="T71" fmla="*/ 146 h 390"/>
                <a:gd name="T72" fmla="*/ 606 w 1076"/>
                <a:gd name="T73" fmla="*/ 176 h 390"/>
                <a:gd name="T74" fmla="*/ 584 w 1076"/>
                <a:gd name="T75" fmla="*/ 198 h 390"/>
                <a:gd name="T76" fmla="*/ 554 w 1076"/>
                <a:gd name="T77" fmla="*/ 210 h 390"/>
                <a:gd name="T78" fmla="*/ 538 w 1076"/>
                <a:gd name="T79" fmla="*/ 212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76" h="390">
                  <a:moveTo>
                    <a:pt x="978" y="0"/>
                  </a:moveTo>
                  <a:lnTo>
                    <a:pt x="98" y="0"/>
                  </a:lnTo>
                  <a:lnTo>
                    <a:pt x="98" y="0"/>
                  </a:lnTo>
                  <a:lnTo>
                    <a:pt x="78" y="2"/>
                  </a:lnTo>
                  <a:lnTo>
                    <a:pt x="60" y="8"/>
                  </a:lnTo>
                  <a:lnTo>
                    <a:pt x="44" y="16"/>
                  </a:lnTo>
                  <a:lnTo>
                    <a:pt x="28" y="28"/>
                  </a:lnTo>
                  <a:lnTo>
                    <a:pt x="16" y="44"/>
                  </a:lnTo>
                  <a:lnTo>
                    <a:pt x="8" y="60"/>
                  </a:lnTo>
                  <a:lnTo>
                    <a:pt x="2" y="78"/>
                  </a:lnTo>
                  <a:lnTo>
                    <a:pt x="0" y="98"/>
                  </a:lnTo>
                  <a:lnTo>
                    <a:pt x="0" y="294"/>
                  </a:lnTo>
                  <a:lnTo>
                    <a:pt x="0" y="294"/>
                  </a:lnTo>
                  <a:lnTo>
                    <a:pt x="2" y="312"/>
                  </a:lnTo>
                  <a:lnTo>
                    <a:pt x="8" y="332"/>
                  </a:lnTo>
                  <a:lnTo>
                    <a:pt x="16" y="348"/>
                  </a:lnTo>
                  <a:lnTo>
                    <a:pt x="28" y="362"/>
                  </a:lnTo>
                  <a:lnTo>
                    <a:pt x="44" y="374"/>
                  </a:lnTo>
                  <a:lnTo>
                    <a:pt x="60" y="384"/>
                  </a:lnTo>
                  <a:lnTo>
                    <a:pt x="78" y="388"/>
                  </a:lnTo>
                  <a:lnTo>
                    <a:pt x="98" y="390"/>
                  </a:lnTo>
                  <a:lnTo>
                    <a:pt x="978" y="390"/>
                  </a:lnTo>
                  <a:lnTo>
                    <a:pt x="978" y="390"/>
                  </a:lnTo>
                  <a:lnTo>
                    <a:pt x="998" y="388"/>
                  </a:lnTo>
                  <a:lnTo>
                    <a:pt x="1016" y="384"/>
                  </a:lnTo>
                  <a:lnTo>
                    <a:pt x="1032" y="374"/>
                  </a:lnTo>
                  <a:lnTo>
                    <a:pt x="1046" y="362"/>
                  </a:lnTo>
                  <a:lnTo>
                    <a:pt x="1058" y="348"/>
                  </a:lnTo>
                  <a:lnTo>
                    <a:pt x="1068" y="332"/>
                  </a:lnTo>
                  <a:lnTo>
                    <a:pt x="1074" y="312"/>
                  </a:lnTo>
                  <a:lnTo>
                    <a:pt x="1076" y="294"/>
                  </a:lnTo>
                  <a:lnTo>
                    <a:pt x="1076" y="98"/>
                  </a:lnTo>
                  <a:lnTo>
                    <a:pt x="1076" y="98"/>
                  </a:lnTo>
                  <a:lnTo>
                    <a:pt x="1074" y="78"/>
                  </a:lnTo>
                  <a:lnTo>
                    <a:pt x="1068" y="60"/>
                  </a:lnTo>
                  <a:lnTo>
                    <a:pt x="1058" y="44"/>
                  </a:lnTo>
                  <a:lnTo>
                    <a:pt x="1046" y="28"/>
                  </a:lnTo>
                  <a:lnTo>
                    <a:pt x="1032" y="16"/>
                  </a:lnTo>
                  <a:lnTo>
                    <a:pt x="1016" y="8"/>
                  </a:lnTo>
                  <a:lnTo>
                    <a:pt x="998" y="2"/>
                  </a:lnTo>
                  <a:lnTo>
                    <a:pt x="978" y="0"/>
                  </a:lnTo>
                  <a:lnTo>
                    <a:pt x="978" y="0"/>
                  </a:lnTo>
                  <a:close/>
                  <a:moveTo>
                    <a:pt x="538" y="212"/>
                  </a:moveTo>
                  <a:lnTo>
                    <a:pt x="538" y="212"/>
                  </a:lnTo>
                  <a:lnTo>
                    <a:pt x="522" y="210"/>
                  </a:lnTo>
                  <a:lnTo>
                    <a:pt x="506" y="206"/>
                  </a:lnTo>
                  <a:lnTo>
                    <a:pt x="492" y="198"/>
                  </a:lnTo>
                  <a:lnTo>
                    <a:pt x="480" y="188"/>
                  </a:lnTo>
                  <a:lnTo>
                    <a:pt x="470" y="176"/>
                  </a:lnTo>
                  <a:lnTo>
                    <a:pt x="462" y="162"/>
                  </a:lnTo>
                  <a:lnTo>
                    <a:pt x="458" y="146"/>
                  </a:lnTo>
                  <a:lnTo>
                    <a:pt x="456" y="130"/>
                  </a:lnTo>
                  <a:lnTo>
                    <a:pt x="456" y="130"/>
                  </a:lnTo>
                  <a:lnTo>
                    <a:pt x="458" y="114"/>
                  </a:lnTo>
                  <a:lnTo>
                    <a:pt x="462" y="98"/>
                  </a:lnTo>
                  <a:lnTo>
                    <a:pt x="470" y="84"/>
                  </a:lnTo>
                  <a:lnTo>
                    <a:pt x="480" y="72"/>
                  </a:lnTo>
                  <a:lnTo>
                    <a:pt x="492" y="62"/>
                  </a:lnTo>
                  <a:lnTo>
                    <a:pt x="506" y="56"/>
                  </a:lnTo>
                  <a:lnTo>
                    <a:pt x="522" y="50"/>
                  </a:lnTo>
                  <a:lnTo>
                    <a:pt x="538" y="48"/>
                  </a:lnTo>
                  <a:lnTo>
                    <a:pt x="538" y="48"/>
                  </a:lnTo>
                  <a:lnTo>
                    <a:pt x="554" y="50"/>
                  </a:lnTo>
                  <a:lnTo>
                    <a:pt x="570" y="56"/>
                  </a:lnTo>
                  <a:lnTo>
                    <a:pt x="584" y="62"/>
                  </a:lnTo>
                  <a:lnTo>
                    <a:pt x="596" y="72"/>
                  </a:lnTo>
                  <a:lnTo>
                    <a:pt x="606" y="84"/>
                  </a:lnTo>
                  <a:lnTo>
                    <a:pt x="612" y="98"/>
                  </a:lnTo>
                  <a:lnTo>
                    <a:pt x="618" y="114"/>
                  </a:lnTo>
                  <a:lnTo>
                    <a:pt x="618" y="130"/>
                  </a:lnTo>
                  <a:lnTo>
                    <a:pt x="618" y="130"/>
                  </a:lnTo>
                  <a:lnTo>
                    <a:pt x="618" y="146"/>
                  </a:lnTo>
                  <a:lnTo>
                    <a:pt x="612" y="162"/>
                  </a:lnTo>
                  <a:lnTo>
                    <a:pt x="606" y="176"/>
                  </a:lnTo>
                  <a:lnTo>
                    <a:pt x="596" y="188"/>
                  </a:lnTo>
                  <a:lnTo>
                    <a:pt x="584" y="198"/>
                  </a:lnTo>
                  <a:lnTo>
                    <a:pt x="570" y="206"/>
                  </a:lnTo>
                  <a:lnTo>
                    <a:pt x="554" y="210"/>
                  </a:lnTo>
                  <a:lnTo>
                    <a:pt x="538" y="212"/>
                  </a:lnTo>
                  <a:lnTo>
                    <a:pt x="538" y="212"/>
                  </a:lnTo>
                  <a:close/>
                </a:path>
              </a:pathLst>
            </a:custGeom>
            <a:solidFill>
              <a:srgbClr val="A59E8F">
                <a:lumMod val="40000"/>
                <a:lumOff val="6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54" name="Freeform 10"/>
            <p:cNvSpPr>
              <a:spLocks noEditPoints="1"/>
            </p:cNvSpPr>
            <p:nvPr/>
          </p:nvSpPr>
          <p:spPr bwMode="auto">
            <a:xfrm>
              <a:off x="3551" y="394"/>
              <a:ext cx="578" cy="1041"/>
            </a:xfrm>
            <a:custGeom>
              <a:avLst/>
              <a:gdLst>
                <a:gd name="T0" fmla="*/ 98 w 576"/>
                <a:gd name="T1" fmla="*/ 0 h 1042"/>
                <a:gd name="T2" fmla="*/ 78 w 576"/>
                <a:gd name="T3" fmla="*/ 2 h 1042"/>
                <a:gd name="T4" fmla="*/ 42 w 576"/>
                <a:gd name="T5" fmla="*/ 18 h 1042"/>
                <a:gd name="T6" fmla="*/ 16 w 576"/>
                <a:gd name="T7" fmla="*/ 44 h 1042"/>
                <a:gd name="T8" fmla="*/ 2 w 576"/>
                <a:gd name="T9" fmla="*/ 78 h 1042"/>
                <a:gd name="T10" fmla="*/ 0 w 576"/>
                <a:gd name="T11" fmla="*/ 946 h 1042"/>
                <a:gd name="T12" fmla="*/ 2 w 576"/>
                <a:gd name="T13" fmla="*/ 964 h 1042"/>
                <a:gd name="T14" fmla="*/ 16 w 576"/>
                <a:gd name="T15" fmla="*/ 1000 h 1042"/>
                <a:gd name="T16" fmla="*/ 42 w 576"/>
                <a:gd name="T17" fmla="*/ 1026 h 1042"/>
                <a:gd name="T18" fmla="*/ 78 w 576"/>
                <a:gd name="T19" fmla="*/ 1040 h 1042"/>
                <a:gd name="T20" fmla="*/ 478 w 576"/>
                <a:gd name="T21" fmla="*/ 1042 h 1042"/>
                <a:gd name="T22" fmla="*/ 498 w 576"/>
                <a:gd name="T23" fmla="*/ 1040 h 1042"/>
                <a:gd name="T24" fmla="*/ 532 w 576"/>
                <a:gd name="T25" fmla="*/ 1026 h 1042"/>
                <a:gd name="T26" fmla="*/ 558 w 576"/>
                <a:gd name="T27" fmla="*/ 1000 h 1042"/>
                <a:gd name="T28" fmla="*/ 574 w 576"/>
                <a:gd name="T29" fmla="*/ 964 h 1042"/>
                <a:gd name="T30" fmla="*/ 576 w 576"/>
                <a:gd name="T31" fmla="*/ 98 h 1042"/>
                <a:gd name="T32" fmla="*/ 574 w 576"/>
                <a:gd name="T33" fmla="*/ 78 h 1042"/>
                <a:gd name="T34" fmla="*/ 558 w 576"/>
                <a:gd name="T35" fmla="*/ 44 h 1042"/>
                <a:gd name="T36" fmla="*/ 532 w 576"/>
                <a:gd name="T37" fmla="*/ 18 h 1042"/>
                <a:gd name="T38" fmla="*/ 498 w 576"/>
                <a:gd name="T39" fmla="*/ 2 h 1042"/>
                <a:gd name="T40" fmla="*/ 478 w 576"/>
                <a:gd name="T41" fmla="*/ 0 h 1042"/>
                <a:gd name="T42" fmla="*/ 288 w 576"/>
                <a:gd name="T43" fmla="*/ 940 h 1042"/>
                <a:gd name="T44" fmla="*/ 256 w 576"/>
                <a:gd name="T45" fmla="*/ 934 h 1042"/>
                <a:gd name="T46" fmla="*/ 230 w 576"/>
                <a:gd name="T47" fmla="*/ 916 h 1042"/>
                <a:gd name="T48" fmla="*/ 212 w 576"/>
                <a:gd name="T49" fmla="*/ 890 h 1042"/>
                <a:gd name="T50" fmla="*/ 206 w 576"/>
                <a:gd name="T51" fmla="*/ 858 h 1042"/>
                <a:gd name="T52" fmla="*/ 208 w 576"/>
                <a:gd name="T53" fmla="*/ 842 h 1042"/>
                <a:gd name="T54" fmla="*/ 220 w 576"/>
                <a:gd name="T55" fmla="*/ 812 h 1042"/>
                <a:gd name="T56" fmla="*/ 242 w 576"/>
                <a:gd name="T57" fmla="*/ 790 h 1042"/>
                <a:gd name="T58" fmla="*/ 272 w 576"/>
                <a:gd name="T59" fmla="*/ 778 h 1042"/>
                <a:gd name="T60" fmla="*/ 288 w 576"/>
                <a:gd name="T61" fmla="*/ 776 h 1042"/>
                <a:gd name="T62" fmla="*/ 320 w 576"/>
                <a:gd name="T63" fmla="*/ 784 h 1042"/>
                <a:gd name="T64" fmla="*/ 346 w 576"/>
                <a:gd name="T65" fmla="*/ 800 h 1042"/>
                <a:gd name="T66" fmla="*/ 362 w 576"/>
                <a:gd name="T67" fmla="*/ 826 h 1042"/>
                <a:gd name="T68" fmla="*/ 368 w 576"/>
                <a:gd name="T69" fmla="*/ 858 h 1042"/>
                <a:gd name="T70" fmla="*/ 368 w 576"/>
                <a:gd name="T71" fmla="*/ 874 h 1042"/>
                <a:gd name="T72" fmla="*/ 356 w 576"/>
                <a:gd name="T73" fmla="*/ 904 h 1042"/>
                <a:gd name="T74" fmla="*/ 334 w 576"/>
                <a:gd name="T75" fmla="*/ 926 h 1042"/>
                <a:gd name="T76" fmla="*/ 304 w 576"/>
                <a:gd name="T77" fmla="*/ 938 h 1042"/>
                <a:gd name="T78" fmla="*/ 288 w 576"/>
                <a:gd name="T79" fmla="*/ 94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1042">
                  <a:moveTo>
                    <a:pt x="478" y="0"/>
                  </a:moveTo>
                  <a:lnTo>
                    <a:pt x="98" y="0"/>
                  </a:lnTo>
                  <a:lnTo>
                    <a:pt x="98" y="0"/>
                  </a:lnTo>
                  <a:lnTo>
                    <a:pt x="78" y="2"/>
                  </a:lnTo>
                  <a:lnTo>
                    <a:pt x="60" y="8"/>
                  </a:lnTo>
                  <a:lnTo>
                    <a:pt x="42" y="18"/>
                  </a:lnTo>
                  <a:lnTo>
                    <a:pt x="28" y="28"/>
                  </a:lnTo>
                  <a:lnTo>
                    <a:pt x="16" y="44"/>
                  </a:lnTo>
                  <a:lnTo>
                    <a:pt x="8" y="60"/>
                  </a:lnTo>
                  <a:lnTo>
                    <a:pt x="2" y="78"/>
                  </a:lnTo>
                  <a:lnTo>
                    <a:pt x="0" y="98"/>
                  </a:lnTo>
                  <a:lnTo>
                    <a:pt x="0" y="946"/>
                  </a:lnTo>
                  <a:lnTo>
                    <a:pt x="0" y="946"/>
                  </a:lnTo>
                  <a:lnTo>
                    <a:pt x="2" y="964"/>
                  </a:lnTo>
                  <a:lnTo>
                    <a:pt x="8" y="984"/>
                  </a:lnTo>
                  <a:lnTo>
                    <a:pt x="16" y="1000"/>
                  </a:lnTo>
                  <a:lnTo>
                    <a:pt x="28" y="1014"/>
                  </a:lnTo>
                  <a:lnTo>
                    <a:pt x="42" y="1026"/>
                  </a:lnTo>
                  <a:lnTo>
                    <a:pt x="60" y="1036"/>
                  </a:lnTo>
                  <a:lnTo>
                    <a:pt x="78" y="1040"/>
                  </a:lnTo>
                  <a:lnTo>
                    <a:pt x="98" y="1042"/>
                  </a:lnTo>
                  <a:lnTo>
                    <a:pt x="478" y="1042"/>
                  </a:lnTo>
                  <a:lnTo>
                    <a:pt x="478" y="1042"/>
                  </a:lnTo>
                  <a:lnTo>
                    <a:pt x="498" y="1040"/>
                  </a:lnTo>
                  <a:lnTo>
                    <a:pt x="516" y="1036"/>
                  </a:lnTo>
                  <a:lnTo>
                    <a:pt x="532" y="1026"/>
                  </a:lnTo>
                  <a:lnTo>
                    <a:pt x="546" y="1014"/>
                  </a:lnTo>
                  <a:lnTo>
                    <a:pt x="558" y="1000"/>
                  </a:lnTo>
                  <a:lnTo>
                    <a:pt x="568" y="984"/>
                  </a:lnTo>
                  <a:lnTo>
                    <a:pt x="574" y="964"/>
                  </a:lnTo>
                  <a:lnTo>
                    <a:pt x="576" y="946"/>
                  </a:lnTo>
                  <a:lnTo>
                    <a:pt x="576" y="98"/>
                  </a:lnTo>
                  <a:lnTo>
                    <a:pt x="576" y="98"/>
                  </a:lnTo>
                  <a:lnTo>
                    <a:pt x="574" y="78"/>
                  </a:lnTo>
                  <a:lnTo>
                    <a:pt x="568" y="60"/>
                  </a:lnTo>
                  <a:lnTo>
                    <a:pt x="558" y="44"/>
                  </a:lnTo>
                  <a:lnTo>
                    <a:pt x="546" y="28"/>
                  </a:lnTo>
                  <a:lnTo>
                    <a:pt x="532" y="18"/>
                  </a:lnTo>
                  <a:lnTo>
                    <a:pt x="516" y="8"/>
                  </a:lnTo>
                  <a:lnTo>
                    <a:pt x="498" y="2"/>
                  </a:lnTo>
                  <a:lnTo>
                    <a:pt x="478" y="0"/>
                  </a:lnTo>
                  <a:lnTo>
                    <a:pt x="478" y="0"/>
                  </a:lnTo>
                  <a:close/>
                  <a:moveTo>
                    <a:pt x="288" y="940"/>
                  </a:moveTo>
                  <a:lnTo>
                    <a:pt x="288" y="940"/>
                  </a:lnTo>
                  <a:lnTo>
                    <a:pt x="272" y="938"/>
                  </a:lnTo>
                  <a:lnTo>
                    <a:pt x="256" y="934"/>
                  </a:lnTo>
                  <a:lnTo>
                    <a:pt x="242" y="926"/>
                  </a:lnTo>
                  <a:lnTo>
                    <a:pt x="230" y="916"/>
                  </a:lnTo>
                  <a:lnTo>
                    <a:pt x="220" y="904"/>
                  </a:lnTo>
                  <a:lnTo>
                    <a:pt x="212" y="890"/>
                  </a:lnTo>
                  <a:lnTo>
                    <a:pt x="208" y="874"/>
                  </a:lnTo>
                  <a:lnTo>
                    <a:pt x="206" y="858"/>
                  </a:lnTo>
                  <a:lnTo>
                    <a:pt x="206" y="858"/>
                  </a:lnTo>
                  <a:lnTo>
                    <a:pt x="208" y="842"/>
                  </a:lnTo>
                  <a:lnTo>
                    <a:pt x="212" y="826"/>
                  </a:lnTo>
                  <a:lnTo>
                    <a:pt x="220" y="812"/>
                  </a:lnTo>
                  <a:lnTo>
                    <a:pt x="230" y="800"/>
                  </a:lnTo>
                  <a:lnTo>
                    <a:pt x="242" y="790"/>
                  </a:lnTo>
                  <a:lnTo>
                    <a:pt x="256" y="784"/>
                  </a:lnTo>
                  <a:lnTo>
                    <a:pt x="272" y="778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304" y="778"/>
                  </a:lnTo>
                  <a:lnTo>
                    <a:pt x="320" y="784"/>
                  </a:lnTo>
                  <a:lnTo>
                    <a:pt x="334" y="790"/>
                  </a:lnTo>
                  <a:lnTo>
                    <a:pt x="346" y="800"/>
                  </a:lnTo>
                  <a:lnTo>
                    <a:pt x="356" y="812"/>
                  </a:lnTo>
                  <a:lnTo>
                    <a:pt x="362" y="826"/>
                  </a:lnTo>
                  <a:lnTo>
                    <a:pt x="368" y="842"/>
                  </a:lnTo>
                  <a:lnTo>
                    <a:pt x="368" y="858"/>
                  </a:lnTo>
                  <a:lnTo>
                    <a:pt x="368" y="858"/>
                  </a:lnTo>
                  <a:lnTo>
                    <a:pt x="368" y="874"/>
                  </a:lnTo>
                  <a:lnTo>
                    <a:pt x="362" y="890"/>
                  </a:lnTo>
                  <a:lnTo>
                    <a:pt x="356" y="904"/>
                  </a:lnTo>
                  <a:lnTo>
                    <a:pt x="346" y="916"/>
                  </a:lnTo>
                  <a:lnTo>
                    <a:pt x="334" y="926"/>
                  </a:lnTo>
                  <a:lnTo>
                    <a:pt x="320" y="934"/>
                  </a:lnTo>
                  <a:lnTo>
                    <a:pt x="304" y="938"/>
                  </a:lnTo>
                  <a:lnTo>
                    <a:pt x="288" y="940"/>
                  </a:lnTo>
                  <a:lnTo>
                    <a:pt x="288" y="940"/>
                  </a:lnTo>
                  <a:close/>
                </a:path>
              </a:pathLst>
            </a:custGeom>
            <a:gradFill>
              <a:gsLst>
                <a:gs pos="70000">
                  <a:srgbClr val="FFFFFF">
                    <a:lumMod val="40000"/>
                    <a:lumOff val="60000"/>
                  </a:srgbClr>
                </a:gs>
                <a:gs pos="100000">
                  <a:srgbClr val="C2C2C2"/>
                </a:gs>
                <a:gs pos="0">
                  <a:srgbClr val="C2C2C2"/>
                </a:gs>
                <a:gs pos="45000">
                  <a:srgbClr val="FFFFFF">
                    <a:lumMod val="95000"/>
                    <a:lumOff val="5000"/>
                  </a:srgbClr>
                </a:gs>
                <a:gs pos="78000">
                  <a:srgbClr val="989898">
                    <a:lumMod val="18000"/>
                    <a:lumOff val="82000"/>
                  </a:srgbClr>
                </a:gs>
                <a:gs pos="32000">
                  <a:srgbClr val="FFFFFF">
                    <a:lumMod val="81000"/>
                  </a:srgbClr>
                </a:gs>
              </a:gsLst>
              <a:lin ang="36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</p:grpSp>
      <p:grpSp>
        <p:nvGrpSpPr>
          <p:cNvPr id="56" name="Group 82"/>
          <p:cNvGrpSpPr>
            <a:grpSpLocks noChangeAspect="1"/>
          </p:cNvGrpSpPr>
          <p:nvPr/>
        </p:nvGrpSpPr>
        <p:grpSpPr bwMode="auto">
          <a:xfrm rot="212162">
            <a:off x="5094288" y="2003756"/>
            <a:ext cx="3519487" cy="2917825"/>
            <a:chOff x="1722" y="380"/>
            <a:chExt cx="4236" cy="3560"/>
          </a:xfrm>
        </p:grpSpPr>
        <p:sp>
          <p:nvSpPr>
            <p:cNvPr id="57" name="AutoShape 3"/>
            <p:cNvSpPr>
              <a:spLocks noChangeAspect="1" noChangeArrowheads="1" noTextEdit="1"/>
            </p:cNvSpPr>
            <p:nvPr/>
          </p:nvSpPr>
          <p:spPr bwMode="auto">
            <a:xfrm>
              <a:off x="1722" y="380"/>
              <a:ext cx="4236" cy="3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58" name="Freeform 6"/>
            <p:cNvSpPr>
              <a:spLocks/>
            </p:cNvSpPr>
            <p:nvPr/>
          </p:nvSpPr>
          <p:spPr bwMode="auto">
            <a:xfrm>
              <a:off x="1710" y="1302"/>
              <a:ext cx="4236" cy="2628"/>
            </a:xfrm>
            <a:custGeom>
              <a:avLst/>
              <a:gdLst>
                <a:gd name="T0" fmla="*/ 4138 w 4236"/>
                <a:gd name="T1" fmla="*/ 0 h 2638"/>
                <a:gd name="T2" fmla="*/ 2182 w 4236"/>
                <a:gd name="T3" fmla="*/ 0 h 2638"/>
                <a:gd name="T4" fmla="*/ 2182 w 4236"/>
                <a:gd name="T5" fmla="*/ 0 h 2638"/>
                <a:gd name="T6" fmla="*/ 2170 w 4236"/>
                <a:gd name="T7" fmla="*/ 12 h 2638"/>
                <a:gd name="T8" fmla="*/ 2154 w 4236"/>
                <a:gd name="T9" fmla="*/ 22 h 2638"/>
                <a:gd name="T10" fmla="*/ 2136 w 4236"/>
                <a:gd name="T11" fmla="*/ 30 h 2638"/>
                <a:gd name="T12" fmla="*/ 2118 w 4236"/>
                <a:gd name="T13" fmla="*/ 32 h 2638"/>
                <a:gd name="T14" fmla="*/ 2118 w 4236"/>
                <a:gd name="T15" fmla="*/ 32 h 2638"/>
                <a:gd name="T16" fmla="*/ 2098 w 4236"/>
                <a:gd name="T17" fmla="*/ 30 h 2638"/>
                <a:gd name="T18" fmla="*/ 2080 w 4236"/>
                <a:gd name="T19" fmla="*/ 22 h 2638"/>
                <a:gd name="T20" fmla="*/ 2066 w 4236"/>
                <a:gd name="T21" fmla="*/ 12 h 2638"/>
                <a:gd name="T22" fmla="*/ 2052 w 4236"/>
                <a:gd name="T23" fmla="*/ 0 h 2638"/>
                <a:gd name="T24" fmla="*/ 98 w 4236"/>
                <a:gd name="T25" fmla="*/ 0 h 2638"/>
                <a:gd name="T26" fmla="*/ 98 w 4236"/>
                <a:gd name="T27" fmla="*/ 0 h 2638"/>
                <a:gd name="T28" fmla="*/ 78 w 4236"/>
                <a:gd name="T29" fmla="*/ 2 h 2638"/>
                <a:gd name="T30" fmla="*/ 60 w 4236"/>
                <a:gd name="T31" fmla="*/ 6 h 2638"/>
                <a:gd name="T32" fmla="*/ 42 w 4236"/>
                <a:gd name="T33" fmla="*/ 16 h 2638"/>
                <a:gd name="T34" fmla="*/ 28 w 4236"/>
                <a:gd name="T35" fmla="*/ 28 h 2638"/>
                <a:gd name="T36" fmla="*/ 16 w 4236"/>
                <a:gd name="T37" fmla="*/ 42 h 2638"/>
                <a:gd name="T38" fmla="*/ 8 w 4236"/>
                <a:gd name="T39" fmla="*/ 58 h 2638"/>
                <a:gd name="T40" fmla="*/ 2 w 4236"/>
                <a:gd name="T41" fmla="*/ 78 h 2638"/>
                <a:gd name="T42" fmla="*/ 0 w 4236"/>
                <a:gd name="T43" fmla="*/ 96 h 2638"/>
                <a:gd name="T44" fmla="*/ 0 w 4236"/>
                <a:gd name="T45" fmla="*/ 2540 h 2638"/>
                <a:gd name="T46" fmla="*/ 0 w 4236"/>
                <a:gd name="T47" fmla="*/ 2540 h 2638"/>
                <a:gd name="T48" fmla="*/ 2 w 4236"/>
                <a:gd name="T49" fmla="*/ 2560 h 2638"/>
                <a:gd name="T50" fmla="*/ 8 w 4236"/>
                <a:gd name="T51" fmla="*/ 2578 h 2638"/>
                <a:gd name="T52" fmla="*/ 16 w 4236"/>
                <a:gd name="T53" fmla="*/ 2596 h 2638"/>
                <a:gd name="T54" fmla="*/ 28 w 4236"/>
                <a:gd name="T55" fmla="*/ 2610 h 2638"/>
                <a:gd name="T56" fmla="*/ 42 w 4236"/>
                <a:gd name="T57" fmla="*/ 2622 h 2638"/>
                <a:gd name="T58" fmla="*/ 60 w 4236"/>
                <a:gd name="T59" fmla="*/ 2630 h 2638"/>
                <a:gd name="T60" fmla="*/ 78 w 4236"/>
                <a:gd name="T61" fmla="*/ 2636 h 2638"/>
                <a:gd name="T62" fmla="*/ 98 w 4236"/>
                <a:gd name="T63" fmla="*/ 2638 h 2638"/>
                <a:gd name="T64" fmla="*/ 4138 w 4236"/>
                <a:gd name="T65" fmla="*/ 2638 h 2638"/>
                <a:gd name="T66" fmla="*/ 4138 w 4236"/>
                <a:gd name="T67" fmla="*/ 2638 h 2638"/>
                <a:gd name="T68" fmla="*/ 4158 w 4236"/>
                <a:gd name="T69" fmla="*/ 2636 h 2638"/>
                <a:gd name="T70" fmla="*/ 4176 w 4236"/>
                <a:gd name="T71" fmla="*/ 2630 h 2638"/>
                <a:gd name="T72" fmla="*/ 4192 w 4236"/>
                <a:gd name="T73" fmla="*/ 2622 h 2638"/>
                <a:gd name="T74" fmla="*/ 4206 w 4236"/>
                <a:gd name="T75" fmla="*/ 2610 h 2638"/>
                <a:gd name="T76" fmla="*/ 4218 w 4236"/>
                <a:gd name="T77" fmla="*/ 2596 h 2638"/>
                <a:gd name="T78" fmla="*/ 4228 w 4236"/>
                <a:gd name="T79" fmla="*/ 2578 h 2638"/>
                <a:gd name="T80" fmla="*/ 4234 w 4236"/>
                <a:gd name="T81" fmla="*/ 2560 h 2638"/>
                <a:gd name="T82" fmla="*/ 4236 w 4236"/>
                <a:gd name="T83" fmla="*/ 2540 h 2638"/>
                <a:gd name="T84" fmla="*/ 4236 w 4236"/>
                <a:gd name="T85" fmla="*/ 96 h 2638"/>
                <a:gd name="T86" fmla="*/ 4236 w 4236"/>
                <a:gd name="T87" fmla="*/ 96 h 2638"/>
                <a:gd name="T88" fmla="*/ 4234 w 4236"/>
                <a:gd name="T89" fmla="*/ 78 h 2638"/>
                <a:gd name="T90" fmla="*/ 4228 w 4236"/>
                <a:gd name="T91" fmla="*/ 58 h 2638"/>
                <a:gd name="T92" fmla="*/ 4218 w 4236"/>
                <a:gd name="T93" fmla="*/ 42 h 2638"/>
                <a:gd name="T94" fmla="*/ 4206 w 4236"/>
                <a:gd name="T95" fmla="*/ 28 h 2638"/>
                <a:gd name="T96" fmla="*/ 4192 w 4236"/>
                <a:gd name="T97" fmla="*/ 16 h 2638"/>
                <a:gd name="T98" fmla="*/ 4176 w 4236"/>
                <a:gd name="T99" fmla="*/ 6 h 2638"/>
                <a:gd name="T100" fmla="*/ 4158 w 4236"/>
                <a:gd name="T101" fmla="*/ 2 h 2638"/>
                <a:gd name="T102" fmla="*/ 4138 w 4236"/>
                <a:gd name="T103" fmla="*/ 0 h 2638"/>
                <a:gd name="T104" fmla="*/ 4138 w 4236"/>
                <a:gd name="T105" fmla="*/ 0 h 2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36" h="2638">
                  <a:moveTo>
                    <a:pt x="4138" y="0"/>
                  </a:moveTo>
                  <a:lnTo>
                    <a:pt x="2182" y="0"/>
                  </a:lnTo>
                  <a:lnTo>
                    <a:pt x="2182" y="0"/>
                  </a:lnTo>
                  <a:lnTo>
                    <a:pt x="2170" y="12"/>
                  </a:lnTo>
                  <a:lnTo>
                    <a:pt x="2154" y="22"/>
                  </a:lnTo>
                  <a:lnTo>
                    <a:pt x="2136" y="30"/>
                  </a:lnTo>
                  <a:lnTo>
                    <a:pt x="2118" y="32"/>
                  </a:lnTo>
                  <a:lnTo>
                    <a:pt x="2118" y="32"/>
                  </a:lnTo>
                  <a:lnTo>
                    <a:pt x="2098" y="30"/>
                  </a:lnTo>
                  <a:lnTo>
                    <a:pt x="2080" y="22"/>
                  </a:lnTo>
                  <a:lnTo>
                    <a:pt x="2066" y="12"/>
                  </a:lnTo>
                  <a:lnTo>
                    <a:pt x="2052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78" y="2"/>
                  </a:lnTo>
                  <a:lnTo>
                    <a:pt x="60" y="6"/>
                  </a:lnTo>
                  <a:lnTo>
                    <a:pt x="42" y="16"/>
                  </a:lnTo>
                  <a:lnTo>
                    <a:pt x="28" y="28"/>
                  </a:lnTo>
                  <a:lnTo>
                    <a:pt x="16" y="42"/>
                  </a:lnTo>
                  <a:lnTo>
                    <a:pt x="8" y="58"/>
                  </a:lnTo>
                  <a:lnTo>
                    <a:pt x="2" y="78"/>
                  </a:lnTo>
                  <a:lnTo>
                    <a:pt x="0" y="96"/>
                  </a:lnTo>
                  <a:lnTo>
                    <a:pt x="0" y="2540"/>
                  </a:lnTo>
                  <a:lnTo>
                    <a:pt x="0" y="2540"/>
                  </a:lnTo>
                  <a:lnTo>
                    <a:pt x="2" y="2560"/>
                  </a:lnTo>
                  <a:lnTo>
                    <a:pt x="8" y="2578"/>
                  </a:lnTo>
                  <a:lnTo>
                    <a:pt x="16" y="2596"/>
                  </a:lnTo>
                  <a:lnTo>
                    <a:pt x="28" y="2610"/>
                  </a:lnTo>
                  <a:lnTo>
                    <a:pt x="42" y="2622"/>
                  </a:lnTo>
                  <a:lnTo>
                    <a:pt x="60" y="2630"/>
                  </a:lnTo>
                  <a:lnTo>
                    <a:pt x="78" y="2636"/>
                  </a:lnTo>
                  <a:lnTo>
                    <a:pt x="98" y="2638"/>
                  </a:lnTo>
                  <a:lnTo>
                    <a:pt x="4138" y="2638"/>
                  </a:lnTo>
                  <a:lnTo>
                    <a:pt x="4138" y="2638"/>
                  </a:lnTo>
                  <a:lnTo>
                    <a:pt x="4158" y="2636"/>
                  </a:lnTo>
                  <a:lnTo>
                    <a:pt x="4176" y="2630"/>
                  </a:lnTo>
                  <a:lnTo>
                    <a:pt x="4192" y="2622"/>
                  </a:lnTo>
                  <a:lnTo>
                    <a:pt x="4206" y="2610"/>
                  </a:lnTo>
                  <a:lnTo>
                    <a:pt x="4218" y="2596"/>
                  </a:lnTo>
                  <a:lnTo>
                    <a:pt x="4228" y="2578"/>
                  </a:lnTo>
                  <a:lnTo>
                    <a:pt x="4234" y="2560"/>
                  </a:lnTo>
                  <a:lnTo>
                    <a:pt x="4236" y="2540"/>
                  </a:lnTo>
                  <a:lnTo>
                    <a:pt x="4236" y="96"/>
                  </a:lnTo>
                  <a:lnTo>
                    <a:pt x="4236" y="96"/>
                  </a:lnTo>
                  <a:lnTo>
                    <a:pt x="4234" y="78"/>
                  </a:lnTo>
                  <a:lnTo>
                    <a:pt x="4228" y="58"/>
                  </a:lnTo>
                  <a:lnTo>
                    <a:pt x="4218" y="42"/>
                  </a:lnTo>
                  <a:lnTo>
                    <a:pt x="4206" y="28"/>
                  </a:lnTo>
                  <a:lnTo>
                    <a:pt x="4192" y="16"/>
                  </a:lnTo>
                  <a:lnTo>
                    <a:pt x="4176" y="6"/>
                  </a:lnTo>
                  <a:lnTo>
                    <a:pt x="4158" y="2"/>
                  </a:lnTo>
                  <a:lnTo>
                    <a:pt x="4138" y="0"/>
                  </a:lnTo>
                  <a:lnTo>
                    <a:pt x="4138" y="0"/>
                  </a:lnTo>
                  <a:close/>
                </a:path>
              </a:pathLst>
            </a:custGeom>
            <a:solidFill>
              <a:srgbClr val="A59E8F">
                <a:lumMod val="60000"/>
                <a:lumOff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59" name="Freeform 7"/>
            <p:cNvSpPr>
              <a:spLocks/>
            </p:cNvSpPr>
            <p:nvPr/>
          </p:nvSpPr>
          <p:spPr bwMode="auto">
            <a:xfrm>
              <a:off x="1744" y="2217"/>
              <a:ext cx="4098" cy="1617"/>
            </a:xfrm>
            <a:custGeom>
              <a:avLst/>
              <a:gdLst>
                <a:gd name="T0" fmla="*/ 0 w 4106"/>
                <a:gd name="T1" fmla="*/ 1582 h 1616"/>
                <a:gd name="T2" fmla="*/ 2 w 4106"/>
                <a:gd name="T3" fmla="*/ 1590 h 1616"/>
                <a:gd name="T4" fmla="*/ 6 w 4106"/>
                <a:gd name="T5" fmla="*/ 1600 h 1616"/>
                <a:gd name="T6" fmla="*/ 16 w 4106"/>
                <a:gd name="T7" fmla="*/ 1610 h 1616"/>
                <a:gd name="T8" fmla="*/ 26 w 4106"/>
                <a:gd name="T9" fmla="*/ 1614 h 1616"/>
                <a:gd name="T10" fmla="*/ 4074 w 4106"/>
                <a:gd name="T11" fmla="*/ 1616 h 1616"/>
                <a:gd name="T12" fmla="*/ 4080 w 4106"/>
                <a:gd name="T13" fmla="*/ 1614 h 1616"/>
                <a:gd name="T14" fmla="*/ 4092 w 4106"/>
                <a:gd name="T15" fmla="*/ 1610 h 1616"/>
                <a:gd name="T16" fmla="*/ 4100 w 4106"/>
                <a:gd name="T17" fmla="*/ 1600 h 1616"/>
                <a:gd name="T18" fmla="*/ 4106 w 4106"/>
                <a:gd name="T19" fmla="*/ 1590 h 1616"/>
                <a:gd name="T20" fmla="*/ 4106 w 4106"/>
                <a:gd name="T21" fmla="*/ 0 h 1616"/>
                <a:gd name="T22" fmla="*/ 4056 w 4106"/>
                <a:gd name="T23" fmla="*/ 44 h 1616"/>
                <a:gd name="T24" fmla="*/ 3952 w 4106"/>
                <a:gd name="T25" fmla="*/ 128 h 1616"/>
                <a:gd name="T26" fmla="*/ 3842 w 4106"/>
                <a:gd name="T27" fmla="*/ 206 h 1616"/>
                <a:gd name="T28" fmla="*/ 3730 w 4106"/>
                <a:gd name="T29" fmla="*/ 282 h 1616"/>
                <a:gd name="T30" fmla="*/ 3614 w 4106"/>
                <a:gd name="T31" fmla="*/ 352 h 1616"/>
                <a:gd name="T32" fmla="*/ 3492 w 4106"/>
                <a:gd name="T33" fmla="*/ 416 h 1616"/>
                <a:gd name="T34" fmla="*/ 3368 w 4106"/>
                <a:gd name="T35" fmla="*/ 476 h 1616"/>
                <a:gd name="T36" fmla="*/ 3240 w 4106"/>
                <a:gd name="T37" fmla="*/ 530 h 1616"/>
                <a:gd name="T38" fmla="*/ 3108 w 4106"/>
                <a:gd name="T39" fmla="*/ 580 h 1616"/>
                <a:gd name="T40" fmla="*/ 2974 w 4106"/>
                <a:gd name="T41" fmla="*/ 624 h 1616"/>
                <a:gd name="T42" fmla="*/ 2838 w 4106"/>
                <a:gd name="T43" fmla="*/ 662 h 1616"/>
                <a:gd name="T44" fmla="*/ 2698 w 4106"/>
                <a:gd name="T45" fmla="*/ 694 h 1616"/>
                <a:gd name="T46" fmla="*/ 2554 w 4106"/>
                <a:gd name="T47" fmla="*/ 720 h 1616"/>
                <a:gd name="T48" fmla="*/ 2410 w 4106"/>
                <a:gd name="T49" fmla="*/ 738 h 1616"/>
                <a:gd name="T50" fmla="*/ 2262 w 4106"/>
                <a:gd name="T51" fmla="*/ 752 h 1616"/>
                <a:gd name="T52" fmla="*/ 2112 w 4106"/>
                <a:gd name="T53" fmla="*/ 758 h 1616"/>
                <a:gd name="T54" fmla="*/ 2038 w 4106"/>
                <a:gd name="T55" fmla="*/ 760 h 1616"/>
                <a:gd name="T56" fmla="*/ 1890 w 4106"/>
                <a:gd name="T57" fmla="*/ 756 h 1616"/>
                <a:gd name="T58" fmla="*/ 1744 w 4106"/>
                <a:gd name="T59" fmla="*/ 746 h 1616"/>
                <a:gd name="T60" fmla="*/ 1602 w 4106"/>
                <a:gd name="T61" fmla="*/ 732 h 1616"/>
                <a:gd name="T62" fmla="*/ 1460 w 4106"/>
                <a:gd name="T63" fmla="*/ 710 h 1616"/>
                <a:gd name="T64" fmla="*/ 1322 w 4106"/>
                <a:gd name="T65" fmla="*/ 682 h 1616"/>
                <a:gd name="T66" fmla="*/ 1184 w 4106"/>
                <a:gd name="T67" fmla="*/ 648 h 1616"/>
                <a:gd name="T68" fmla="*/ 1052 w 4106"/>
                <a:gd name="T69" fmla="*/ 608 h 1616"/>
                <a:gd name="T70" fmla="*/ 920 w 4106"/>
                <a:gd name="T71" fmla="*/ 564 h 1616"/>
                <a:gd name="T72" fmla="*/ 794 w 4106"/>
                <a:gd name="T73" fmla="*/ 514 h 1616"/>
                <a:gd name="T74" fmla="*/ 670 w 4106"/>
                <a:gd name="T75" fmla="*/ 458 h 1616"/>
                <a:gd name="T76" fmla="*/ 548 w 4106"/>
                <a:gd name="T77" fmla="*/ 398 h 1616"/>
                <a:gd name="T78" fmla="*/ 430 w 4106"/>
                <a:gd name="T79" fmla="*/ 334 h 1616"/>
                <a:gd name="T80" fmla="*/ 318 w 4106"/>
                <a:gd name="T81" fmla="*/ 264 h 1616"/>
                <a:gd name="T82" fmla="*/ 208 w 4106"/>
                <a:gd name="T83" fmla="*/ 190 h 1616"/>
                <a:gd name="T84" fmla="*/ 102 w 4106"/>
                <a:gd name="T85" fmla="*/ 112 h 1616"/>
                <a:gd name="T86" fmla="*/ 0 w 4106"/>
                <a:gd name="T87" fmla="*/ 28 h 1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06" h="1616">
                  <a:moveTo>
                    <a:pt x="0" y="28"/>
                  </a:moveTo>
                  <a:lnTo>
                    <a:pt x="0" y="1582"/>
                  </a:lnTo>
                  <a:lnTo>
                    <a:pt x="0" y="1582"/>
                  </a:lnTo>
                  <a:lnTo>
                    <a:pt x="2" y="1590"/>
                  </a:lnTo>
                  <a:lnTo>
                    <a:pt x="4" y="1596"/>
                  </a:lnTo>
                  <a:lnTo>
                    <a:pt x="6" y="1600"/>
                  </a:lnTo>
                  <a:lnTo>
                    <a:pt x="10" y="1606"/>
                  </a:lnTo>
                  <a:lnTo>
                    <a:pt x="16" y="1610"/>
                  </a:lnTo>
                  <a:lnTo>
                    <a:pt x="20" y="1612"/>
                  </a:lnTo>
                  <a:lnTo>
                    <a:pt x="26" y="1614"/>
                  </a:lnTo>
                  <a:lnTo>
                    <a:pt x="34" y="1616"/>
                  </a:lnTo>
                  <a:lnTo>
                    <a:pt x="4074" y="1616"/>
                  </a:lnTo>
                  <a:lnTo>
                    <a:pt x="4074" y="1616"/>
                  </a:lnTo>
                  <a:lnTo>
                    <a:pt x="4080" y="1614"/>
                  </a:lnTo>
                  <a:lnTo>
                    <a:pt x="4086" y="1612"/>
                  </a:lnTo>
                  <a:lnTo>
                    <a:pt x="4092" y="1610"/>
                  </a:lnTo>
                  <a:lnTo>
                    <a:pt x="4096" y="1606"/>
                  </a:lnTo>
                  <a:lnTo>
                    <a:pt x="4100" y="1600"/>
                  </a:lnTo>
                  <a:lnTo>
                    <a:pt x="4104" y="1596"/>
                  </a:lnTo>
                  <a:lnTo>
                    <a:pt x="4106" y="1590"/>
                  </a:lnTo>
                  <a:lnTo>
                    <a:pt x="4106" y="1582"/>
                  </a:lnTo>
                  <a:lnTo>
                    <a:pt x="4106" y="0"/>
                  </a:lnTo>
                  <a:lnTo>
                    <a:pt x="4106" y="0"/>
                  </a:lnTo>
                  <a:lnTo>
                    <a:pt x="4056" y="44"/>
                  </a:lnTo>
                  <a:lnTo>
                    <a:pt x="4004" y="86"/>
                  </a:lnTo>
                  <a:lnTo>
                    <a:pt x="3952" y="128"/>
                  </a:lnTo>
                  <a:lnTo>
                    <a:pt x="3898" y="168"/>
                  </a:lnTo>
                  <a:lnTo>
                    <a:pt x="3842" y="206"/>
                  </a:lnTo>
                  <a:lnTo>
                    <a:pt x="3786" y="244"/>
                  </a:lnTo>
                  <a:lnTo>
                    <a:pt x="3730" y="282"/>
                  </a:lnTo>
                  <a:lnTo>
                    <a:pt x="3672" y="316"/>
                  </a:lnTo>
                  <a:lnTo>
                    <a:pt x="3614" y="352"/>
                  </a:lnTo>
                  <a:lnTo>
                    <a:pt x="3554" y="384"/>
                  </a:lnTo>
                  <a:lnTo>
                    <a:pt x="3492" y="416"/>
                  </a:lnTo>
                  <a:lnTo>
                    <a:pt x="3430" y="446"/>
                  </a:lnTo>
                  <a:lnTo>
                    <a:pt x="3368" y="476"/>
                  </a:lnTo>
                  <a:lnTo>
                    <a:pt x="3304" y="504"/>
                  </a:lnTo>
                  <a:lnTo>
                    <a:pt x="3240" y="530"/>
                  </a:lnTo>
                  <a:lnTo>
                    <a:pt x="3174" y="556"/>
                  </a:lnTo>
                  <a:lnTo>
                    <a:pt x="3108" y="580"/>
                  </a:lnTo>
                  <a:lnTo>
                    <a:pt x="3042" y="602"/>
                  </a:lnTo>
                  <a:lnTo>
                    <a:pt x="2974" y="624"/>
                  </a:lnTo>
                  <a:lnTo>
                    <a:pt x="2906" y="644"/>
                  </a:lnTo>
                  <a:lnTo>
                    <a:pt x="2838" y="662"/>
                  </a:lnTo>
                  <a:lnTo>
                    <a:pt x="2768" y="678"/>
                  </a:lnTo>
                  <a:lnTo>
                    <a:pt x="2698" y="694"/>
                  </a:lnTo>
                  <a:lnTo>
                    <a:pt x="2626" y="708"/>
                  </a:lnTo>
                  <a:lnTo>
                    <a:pt x="2554" y="720"/>
                  </a:lnTo>
                  <a:lnTo>
                    <a:pt x="2482" y="730"/>
                  </a:lnTo>
                  <a:lnTo>
                    <a:pt x="2410" y="738"/>
                  </a:lnTo>
                  <a:lnTo>
                    <a:pt x="2336" y="746"/>
                  </a:lnTo>
                  <a:lnTo>
                    <a:pt x="2262" y="752"/>
                  </a:lnTo>
                  <a:lnTo>
                    <a:pt x="2188" y="756"/>
                  </a:lnTo>
                  <a:lnTo>
                    <a:pt x="2112" y="758"/>
                  </a:lnTo>
                  <a:lnTo>
                    <a:pt x="2038" y="760"/>
                  </a:lnTo>
                  <a:lnTo>
                    <a:pt x="2038" y="760"/>
                  </a:lnTo>
                  <a:lnTo>
                    <a:pt x="1964" y="758"/>
                  </a:lnTo>
                  <a:lnTo>
                    <a:pt x="1890" y="756"/>
                  </a:lnTo>
                  <a:lnTo>
                    <a:pt x="1816" y="752"/>
                  </a:lnTo>
                  <a:lnTo>
                    <a:pt x="1744" y="746"/>
                  </a:lnTo>
                  <a:lnTo>
                    <a:pt x="1672" y="740"/>
                  </a:lnTo>
                  <a:lnTo>
                    <a:pt x="1602" y="732"/>
                  </a:lnTo>
                  <a:lnTo>
                    <a:pt x="1530" y="720"/>
                  </a:lnTo>
                  <a:lnTo>
                    <a:pt x="1460" y="710"/>
                  </a:lnTo>
                  <a:lnTo>
                    <a:pt x="1390" y="696"/>
                  </a:lnTo>
                  <a:lnTo>
                    <a:pt x="1322" y="682"/>
                  </a:lnTo>
                  <a:lnTo>
                    <a:pt x="1252" y="666"/>
                  </a:lnTo>
                  <a:lnTo>
                    <a:pt x="1184" y="648"/>
                  </a:lnTo>
                  <a:lnTo>
                    <a:pt x="1118" y="628"/>
                  </a:lnTo>
                  <a:lnTo>
                    <a:pt x="1052" y="608"/>
                  </a:lnTo>
                  <a:lnTo>
                    <a:pt x="986" y="586"/>
                  </a:lnTo>
                  <a:lnTo>
                    <a:pt x="920" y="564"/>
                  </a:lnTo>
                  <a:lnTo>
                    <a:pt x="856" y="540"/>
                  </a:lnTo>
                  <a:lnTo>
                    <a:pt x="794" y="514"/>
                  </a:lnTo>
                  <a:lnTo>
                    <a:pt x="730" y="486"/>
                  </a:lnTo>
                  <a:lnTo>
                    <a:pt x="670" y="458"/>
                  </a:lnTo>
                  <a:lnTo>
                    <a:pt x="608" y="430"/>
                  </a:lnTo>
                  <a:lnTo>
                    <a:pt x="548" y="398"/>
                  </a:lnTo>
                  <a:lnTo>
                    <a:pt x="490" y="366"/>
                  </a:lnTo>
                  <a:lnTo>
                    <a:pt x="430" y="334"/>
                  </a:lnTo>
                  <a:lnTo>
                    <a:pt x="374" y="300"/>
                  </a:lnTo>
                  <a:lnTo>
                    <a:pt x="318" y="264"/>
                  </a:lnTo>
                  <a:lnTo>
                    <a:pt x="262" y="228"/>
                  </a:lnTo>
                  <a:lnTo>
                    <a:pt x="208" y="190"/>
                  </a:lnTo>
                  <a:lnTo>
                    <a:pt x="154" y="150"/>
                  </a:lnTo>
                  <a:lnTo>
                    <a:pt x="102" y="112"/>
                  </a:lnTo>
                  <a:lnTo>
                    <a:pt x="52" y="7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59E8F">
                    <a:lumMod val="20000"/>
                    <a:lumOff val="80000"/>
                  </a:srgbClr>
                </a:gs>
                <a:gs pos="100000">
                  <a:srgbClr val="A59E8F">
                    <a:lumMod val="40000"/>
                    <a:lumOff val="60000"/>
                  </a:srgbClr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60" name="Freeform 8"/>
            <p:cNvSpPr>
              <a:spLocks/>
            </p:cNvSpPr>
            <p:nvPr/>
          </p:nvSpPr>
          <p:spPr bwMode="auto">
            <a:xfrm>
              <a:off x="1767" y="1344"/>
              <a:ext cx="4106" cy="1654"/>
            </a:xfrm>
            <a:custGeom>
              <a:avLst/>
              <a:gdLst>
                <a:gd name="T0" fmla="*/ 34 w 4106"/>
                <a:gd name="T1" fmla="*/ 0 h 1654"/>
                <a:gd name="T2" fmla="*/ 26 w 4106"/>
                <a:gd name="T3" fmla="*/ 2 h 1654"/>
                <a:gd name="T4" fmla="*/ 16 w 4106"/>
                <a:gd name="T5" fmla="*/ 6 h 1654"/>
                <a:gd name="T6" fmla="*/ 6 w 4106"/>
                <a:gd name="T7" fmla="*/ 14 h 1654"/>
                <a:gd name="T8" fmla="*/ 2 w 4106"/>
                <a:gd name="T9" fmla="*/ 26 h 1654"/>
                <a:gd name="T10" fmla="*/ 0 w 4106"/>
                <a:gd name="T11" fmla="*/ 922 h 1654"/>
                <a:gd name="T12" fmla="*/ 52 w 4106"/>
                <a:gd name="T13" fmla="*/ 964 h 1654"/>
                <a:gd name="T14" fmla="*/ 154 w 4106"/>
                <a:gd name="T15" fmla="*/ 1044 h 1654"/>
                <a:gd name="T16" fmla="*/ 262 w 4106"/>
                <a:gd name="T17" fmla="*/ 1122 h 1654"/>
                <a:gd name="T18" fmla="*/ 374 w 4106"/>
                <a:gd name="T19" fmla="*/ 1194 h 1654"/>
                <a:gd name="T20" fmla="*/ 490 w 4106"/>
                <a:gd name="T21" fmla="*/ 1260 h 1654"/>
                <a:gd name="T22" fmla="*/ 608 w 4106"/>
                <a:gd name="T23" fmla="*/ 1324 h 1654"/>
                <a:gd name="T24" fmla="*/ 730 w 4106"/>
                <a:gd name="T25" fmla="*/ 1380 h 1654"/>
                <a:gd name="T26" fmla="*/ 856 w 4106"/>
                <a:gd name="T27" fmla="*/ 1434 h 1654"/>
                <a:gd name="T28" fmla="*/ 986 w 4106"/>
                <a:gd name="T29" fmla="*/ 1480 h 1654"/>
                <a:gd name="T30" fmla="*/ 1118 w 4106"/>
                <a:gd name="T31" fmla="*/ 1522 h 1654"/>
                <a:gd name="T32" fmla="*/ 1252 w 4106"/>
                <a:gd name="T33" fmla="*/ 1560 h 1654"/>
                <a:gd name="T34" fmla="*/ 1390 w 4106"/>
                <a:gd name="T35" fmla="*/ 1590 h 1654"/>
                <a:gd name="T36" fmla="*/ 1530 w 4106"/>
                <a:gd name="T37" fmla="*/ 1614 h 1654"/>
                <a:gd name="T38" fmla="*/ 1672 w 4106"/>
                <a:gd name="T39" fmla="*/ 1634 h 1654"/>
                <a:gd name="T40" fmla="*/ 1816 w 4106"/>
                <a:gd name="T41" fmla="*/ 1646 h 1654"/>
                <a:gd name="T42" fmla="*/ 1964 w 4106"/>
                <a:gd name="T43" fmla="*/ 1652 h 1654"/>
                <a:gd name="T44" fmla="*/ 2038 w 4106"/>
                <a:gd name="T45" fmla="*/ 1654 h 1654"/>
                <a:gd name="T46" fmla="*/ 2188 w 4106"/>
                <a:gd name="T47" fmla="*/ 1650 h 1654"/>
                <a:gd name="T48" fmla="*/ 2336 w 4106"/>
                <a:gd name="T49" fmla="*/ 1640 h 1654"/>
                <a:gd name="T50" fmla="*/ 2482 w 4106"/>
                <a:gd name="T51" fmla="*/ 1624 h 1654"/>
                <a:gd name="T52" fmla="*/ 2626 w 4106"/>
                <a:gd name="T53" fmla="*/ 1602 h 1654"/>
                <a:gd name="T54" fmla="*/ 2768 w 4106"/>
                <a:gd name="T55" fmla="*/ 1572 h 1654"/>
                <a:gd name="T56" fmla="*/ 2906 w 4106"/>
                <a:gd name="T57" fmla="*/ 1538 h 1654"/>
                <a:gd name="T58" fmla="*/ 3042 w 4106"/>
                <a:gd name="T59" fmla="*/ 1496 h 1654"/>
                <a:gd name="T60" fmla="*/ 3174 w 4106"/>
                <a:gd name="T61" fmla="*/ 1450 h 1654"/>
                <a:gd name="T62" fmla="*/ 3304 w 4106"/>
                <a:gd name="T63" fmla="*/ 1398 h 1654"/>
                <a:gd name="T64" fmla="*/ 3430 w 4106"/>
                <a:gd name="T65" fmla="*/ 1340 h 1654"/>
                <a:gd name="T66" fmla="*/ 3554 w 4106"/>
                <a:gd name="T67" fmla="*/ 1278 h 1654"/>
                <a:gd name="T68" fmla="*/ 3672 w 4106"/>
                <a:gd name="T69" fmla="*/ 1210 h 1654"/>
                <a:gd name="T70" fmla="*/ 3786 w 4106"/>
                <a:gd name="T71" fmla="*/ 1138 h 1654"/>
                <a:gd name="T72" fmla="*/ 3898 w 4106"/>
                <a:gd name="T73" fmla="*/ 1062 h 1654"/>
                <a:gd name="T74" fmla="*/ 4004 w 4106"/>
                <a:gd name="T75" fmla="*/ 980 h 1654"/>
                <a:gd name="T76" fmla="*/ 4106 w 4106"/>
                <a:gd name="T77" fmla="*/ 894 h 1654"/>
                <a:gd name="T78" fmla="*/ 4106 w 4106"/>
                <a:gd name="T79" fmla="*/ 32 h 1654"/>
                <a:gd name="T80" fmla="*/ 4104 w 4106"/>
                <a:gd name="T81" fmla="*/ 20 h 1654"/>
                <a:gd name="T82" fmla="*/ 4096 w 4106"/>
                <a:gd name="T83" fmla="*/ 10 h 1654"/>
                <a:gd name="T84" fmla="*/ 4086 w 4106"/>
                <a:gd name="T85" fmla="*/ 2 h 1654"/>
                <a:gd name="T86" fmla="*/ 4074 w 4106"/>
                <a:gd name="T87" fmla="*/ 0 h 1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06" h="1654">
                  <a:moveTo>
                    <a:pt x="4074" y="0"/>
                  </a:moveTo>
                  <a:lnTo>
                    <a:pt x="34" y="0"/>
                  </a:lnTo>
                  <a:lnTo>
                    <a:pt x="34" y="0"/>
                  </a:lnTo>
                  <a:lnTo>
                    <a:pt x="26" y="2"/>
                  </a:lnTo>
                  <a:lnTo>
                    <a:pt x="20" y="2"/>
                  </a:lnTo>
                  <a:lnTo>
                    <a:pt x="16" y="6"/>
                  </a:lnTo>
                  <a:lnTo>
                    <a:pt x="10" y="10"/>
                  </a:lnTo>
                  <a:lnTo>
                    <a:pt x="6" y="14"/>
                  </a:lnTo>
                  <a:lnTo>
                    <a:pt x="4" y="20"/>
                  </a:lnTo>
                  <a:lnTo>
                    <a:pt x="2" y="26"/>
                  </a:lnTo>
                  <a:lnTo>
                    <a:pt x="0" y="32"/>
                  </a:lnTo>
                  <a:lnTo>
                    <a:pt x="0" y="922"/>
                  </a:lnTo>
                  <a:lnTo>
                    <a:pt x="0" y="922"/>
                  </a:lnTo>
                  <a:lnTo>
                    <a:pt x="52" y="964"/>
                  </a:lnTo>
                  <a:lnTo>
                    <a:pt x="102" y="1006"/>
                  </a:lnTo>
                  <a:lnTo>
                    <a:pt x="154" y="1044"/>
                  </a:lnTo>
                  <a:lnTo>
                    <a:pt x="208" y="1084"/>
                  </a:lnTo>
                  <a:lnTo>
                    <a:pt x="262" y="1122"/>
                  </a:lnTo>
                  <a:lnTo>
                    <a:pt x="318" y="1158"/>
                  </a:lnTo>
                  <a:lnTo>
                    <a:pt x="374" y="1194"/>
                  </a:lnTo>
                  <a:lnTo>
                    <a:pt x="430" y="1228"/>
                  </a:lnTo>
                  <a:lnTo>
                    <a:pt x="490" y="1260"/>
                  </a:lnTo>
                  <a:lnTo>
                    <a:pt x="548" y="1292"/>
                  </a:lnTo>
                  <a:lnTo>
                    <a:pt x="608" y="1324"/>
                  </a:lnTo>
                  <a:lnTo>
                    <a:pt x="670" y="1352"/>
                  </a:lnTo>
                  <a:lnTo>
                    <a:pt x="730" y="1380"/>
                  </a:lnTo>
                  <a:lnTo>
                    <a:pt x="794" y="1408"/>
                  </a:lnTo>
                  <a:lnTo>
                    <a:pt x="856" y="1434"/>
                  </a:lnTo>
                  <a:lnTo>
                    <a:pt x="920" y="1458"/>
                  </a:lnTo>
                  <a:lnTo>
                    <a:pt x="986" y="1480"/>
                  </a:lnTo>
                  <a:lnTo>
                    <a:pt x="1052" y="1502"/>
                  </a:lnTo>
                  <a:lnTo>
                    <a:pt x="1118" y="1522"/>
                  </a:lnTo>
                  <a:lnTo>
                    <a:pt x="1184" y="1542"/>
                  </a:lnTo>
                  <a:lnTo>
                    <a:pt x="1252" y="1560"/>
                  </a:lnTo>
                  <a:lnTo>
                    <a:pt x="1322" y="1576"/>
                  </a:lnTo>
                  <a:lnTo>
                    <a:pt x="1390" y="1590"/>
                  </a:lnTo>
                  <a:lnTo>
                    <a:pt x="1460" y="1604"/>
                  </a:lnTo>
                  <a:lnTo>
                    <a:pt x="1530" y="1614"/>
                  </a:lnTo>
                  <a:lnTo>
                    <a:pt x="1602" y="1626"/>
                  </a:lnTo>
                  <a:lnTo>
                    <a:pt x="1672" y="1634"/>
                  </a:lnTo>
                  <a:lnTo>
                    <a:pt x="1744" y="1640"/>
                  </a:lnTo>
                  <a:lnTo>
                    <a:pt x="1816" y="1646"/>
                  </a:lnTo>
                  <a:lnTo>
                    <a:pt x="1890" y="1650"/>
                  </a:lnTo>
                  <a:lnTo>
                    <a:pt x="1964" y="1652"/>
                  </a:lnTo>
                  <a:lnTo>
                    <a:pt x="2038" y="1654"/>
                  </a:lnTo>
                  <a:lnTo>
                    <a:pt x="2038" y="1654"/>
                  </a:lnTo>
                  <a:lnTo>
                    <a:pt x="2112" y="1652"/>
                  </a:lnTo>
                  <a:lnTo>
                    <a:pt x="2188" y="1650"/>
                  </a:lnTo>
                  <a:lnTo>
                    <a:pt x="2262" y="1646"/>
                  </a:lnTo>
                  <a:lnTo>
                    <a:pt x="2336" y="1640"/>
                  </a:lnTo>
                  <a:lnTo>
                    <a:pt x="2410" y="1632"/>
                  </a:lnTo>
                  <a:lnTo>
                    <a:pt x="2482" y="1624"/>
                  </a:lnTo>
                  <a:lnTo>
                    <a:pt x="2554" y="1614"/>
                  </a:lnTo>
                  <a:lnTo>
                    <a:pt x="2626" y="1602"/>
                  </a:lnTo>
                  <a:lnTo>
                    <a:pt x="2698" y="1588"/>
                  </a:lnTo>
                  <a:lnTo>
                    <a:pt x="2768" y="1572"/>
                  </a:lnTo>
                  <a:lnTo>
                    <a:pt x="2838" y="1556"/>
                  </a:lnTo>
                  <a:lnTo>
                    <a:pt x="2906" y="1538"/>
                  </a:lnTo>
                  <a:lnTo>
                    <a:pt x="2974" y="1518"/>
                  </a:lnTo>
                  <a:lnTo>
                    <a:pt x="3042" y="1496"/>
                  </a:lnTo>
                  <a:lnTo>
                    <a:pt x="3108" y="1474"/>
                  </a:lnTo>
                  <a:lnTo>
                    <a:pt x="3174" y="1450"/>
                  </a:lnTo>
                  <a:lnTo>
                    <a:pt x="3240" y="1424"/>
                  </a:lnTo>
                  <a:lnTo>
                    <a:pt x="3304" y="1398"/>
                  </a:lnTo>
                  <a:lnTo>
                    <a:pt x="3368" y="1370"/>
                  </a:lnTo>
                  <a:lnTo>
                    <a:pt x="3430" y="1340"/>
                  </a:lnTo>
                  <a:lnTo>
                    <a:pt x="3492" y="1310"/>
                  </a:lnTo>
                  <a:lnTo>
                    <a:pt x="3554" y="1278"/>
                  </a:lnTo>
                  <a:lnTo>
                    <a:pt x="3614" y="1246"/>
                  </a:lnTo>
                  <a:lnTo>
                    <a:pt x="3672" y="1210"/>
                  </a:lnTo>
                  <a:lnTo>
                    <a:pt x="3730" y="1176"/>
                  </a:lnTo>
                  <a:lnTo>
                    <a:pt x="3786" y="1138"/>
                  </a:lnTo>
                  <a:lnTo>
                    <a:pt x="3842" y="1100"/>
                  </a:lnTo>
                  <a:lnTo>
                    <a:pt x="3898" y="1062"/>
                  </a:lnTo>
                  <a:lnTo>
                    <a:pt x="3952" y="1022"/>
                  </a:lnTo>
                  <a:lnTo>
                    <a:pt x="4004" y="980"/>
                  </a:lnTo>
                  <a:lnTo>
                    <a:pt x="4056" y="938"/>
                  </a:lnTo>
                  <a:lnTo>
                    <a:pt x="4106" y="894"/>
                  </a:lnTo>
                  <a:lnTo>
                    <a:pt x="4106" y="32"/>
                  </a:lnTo>
                  <a:lnTo>
                    <a:pt x="4106" y="32"/>
                  </a:lnTo>
                  <a:lnTo>
                    <a:pt x="4106" y="26"/>
                  </a:lnTo>
                  <a:lnTo>
                    <a:pt x="4104" y="20"/>
                  </a:lnTo>
                  <a:lnTo>
                    <a:pt x="4100" y="14"/>
                  </a:lnTo>
                  <a:lnTo>
                    <a:pt x="4096" y="10"/>
                  </a:lnTo>
                  <a:lnTo>
                    <a:pt x="4092" y="6"/>
                  </a:lnTo>
                  <a:lnTo>
                    <a:pt x="4086" y="2"/>
                  </a:lnTo>
                  <a:lnTo>
                    <a:pt x="4080" y="2"/>
                  </a:lnTo>
                  <a:lnTo>
                    <a:pt x="4074" y="0"/>
                  </a:lnTo>
                  <a:lnTo>
                    <a:pt x="4074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A59E8F">
                    <a:lumMod val="5000"/>
                    <a:lumOff val="95000"/>
                  </a:srgbClr>
                </a:gs>
                <a:gs pos="94000">
                  <a:srgbClr val="A59E8F">
                    <a:lumMod val="40000"/>
                    <a:lumOff val="60000"/>
                  </a:srgbClr>
                </a:gs>
              </a:gsLst>
              <a:lin ang="5400000" scaled="1"/>
              <a:tileRect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61" name="Freeform 9"/>
            <p:cNvSpPr>
              <a:spLocks noEditPoints="1"/>
            </p:cNvSpPr>
            <p:nvPr/>
          </p:nvSpPr>
          <p:spPr bwMode="auto">
            <a:xfrm>
              <a:off x="3294" y="1119"/>
              <a:ext cx="1076" cy="384"/>
            </a:xfrm>
            <a:custGeom>
              <a:avLst/>
              <a:gdLst>
                <a:gd name="T0" fmla="*/ 98 w 1076"/>
                <a:gd name="T1" fmla="*/ 0 h 390"/>
                <a:gd name="T2" fmla="*/ 78 w 1076"/>
                <a:gd name="T3" fmla="*/ 2 h 390"/>
                <a:gd name="T4" fmla="*/ 44 w 1076"/>
                <a:gd name="T5" fmla="*/ 16 h 390"/>
                <a:gd name="T6" fmla="*/ 16 w 1076"/>
                <a:gd name="T7" fmla="*/ 44 h 390"/>
                <a:gd name="T8" fmla="*/ 2 w 1076"/>
                <a:gd name="T9" fmla="*/ 78 h 390"/>
                <a:gd name="T10" fmla="*/ 0 w 1076"/>
                <a:gd name="T11" fmla="*/ 294 h 390"/>
                <a:gd name="T12" fmla="*/ 2 w 1076"/>
                <a:gd name="T13" fmla="*/ 312 h 390"/>
                <a:gd name="T14" fmla="*/ 16 w 1076"/>
                <a:gd name="T15" fmla="*/ 348 h 390"/>
                <a:gd name="T16" fmla="*/ 44 w 1076"/>
                <a:gd name="T17" fmla="*/ 374 h 390"/>
                <a:gd name="T18" fmla="*/ 78 w 1076"/>
                <a:gd name="T19" fmla="*/ 388 h 390"/>
                <a:gd name="T20" fmla="*/ 978 w 1076"/>
                <a:gd name="T21" fmla="*/ 390 h 390"/>
                <a:gd name="T22" fmla="*/ 998 w 1076"/>
                <a:gd name="T23" fmla="*/ 388 h 390"/>
                <a:gd name="T24" fmla="*/ 1032 w 1076"/>
                <a:gd name="T25" fmla="*/ 374 h 390"/>
                <a:gd name="T26" fmla="*/ 1058 w 1076"/>
                <a:gd name="T27" fmla="*/ 348 h 390"/>
                <a:gd name="T28" fmla="*/ 1074 w 1076"/>
                <a:gd name="T29" fmla="*/ 312 h 390"/>
                <a:gd name="T30" fmla="*/ 1076 w 1076"/>
                <a:gd name="T31" fmla="*/ 98 h 390"/>
                <a:gd name="T32" fmla="*/ 1074 w 1076"/>
                <a:gd name="T33" fmla="*/ 78 h 390"/>
                <a:gd name="T34" fmla="*/ 1058 w 1076"/>
                <a:gd name="T35" fmla="*/ 44 h 390"/>
                <a:gd name="T36" fmla="*/ 1032 w 1076"/>
                <a:gd name="T37" fmla="*/ 16 h 390"/>
                <a:gd name="T38" fmla="*/ 998 w 1076"/>
                <a:gd name="T39" fmla="*/ 2 h 390"/>
                <a:gd name="T40" fmla="*/ 978 w 1076"/>
                <a:gd name="T41" fmla="*/ 0 h 390"/>
                <a:gd name="T42" fmla="*/ 538 w 1076"/>
                <a:gd name="T43" fmla="*/ 212 h 390"/>
                <a:gd name="T44" fmla="*/ 506 w 1076"/>
                <a:gd name="T45" fmla="*/ 206 h 390"/>
                <a:gd name="T46" fmla="*/ 480 w 1076"/>
                <a:gd name="T47" fmla="*/ 188 h 390"/>
                <a:gd name="T48" fmla="*/ 462 w 1076"/>
                <a:gd name="T49" fmla="*/ 162 h 390"/>
                <a:gd name="T50" fmla="*/ 456 w 1076"/>
                <a:gd name="T51" fmla="*/ 130 h 390"/>
                <a:gd name="T52" fmla="*/ 458 w 1076"/>
                <a:gd name="T53" fmla="*/ 114 h 390"/>
                <a:gd name="T54" fmla="*/ 470 w 1076"/>
                <a:gd name="T55" fmla="*/ 84 h 390"/>
                <a:gd name="T56" fmla="*/ 492 w 1076"/>
                <a:gd name="T57" fmla="*/ 62 h 390"/>
                <a:gd name="T58" fmla="*/ 522 w 1076"/>
                <a:gd name="T59" fmla="*/ 50 h 390"/>
                <a:gd name="T60" fmla="*/ 538 w 1076"/>
                <a:gd name="T61" fmla="*/ 48 h 390"/>
                <a:gd name="T62" fmla="*/ 570 w 1076"/>
                <a:gd name="T63" fmla="*/ 56 h 390"/>
                <a:gd name="T64" fmla="*/ 596 w 1076"/>
                <a:gd name="T65" fmla="*/ 72 h 390"/>
                <a:gd name="T66" fmla="*/ 612 w 1076"/>
                <a:gd name="T67" fmla="*/ 98 h 390"/>
                <a:gd name="T68" fmla="*/ 618 w 1076"/>
                <a:gd name="T69" fmla="*/ 130 h 390"/>
                <a:gd name="T70" fmla="*/ 618 w 1076"/>
                <a:gd name="T71" fmla="*/ 146 h 390"/>
                <a:gd name="T72" fmla="*/ 606 w 1076"/>
                <a:gd name="T73" fmla="*/ 176 h 390"/>
                <a:gd name="T74" fmla="*/ 584 w 1076"/>
                <a:gd name="T75" fmla="*/ 198 h 390"/>
                <a:gd name="T76" fmla="*/ 554 w 1076"/>
                <a:gd name="T77" fmla="*/ 210 h 390"/>
                <a:gd name="T78" fmla="*/ 538 w 1076"/>
                <a:gd name="T79" fmla="*/ 212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76" h="390">
                  <a:moveTo>
                    <a:pt x="978" y="0"/>
                  </a:moveTo>
                  <a:lnTo>
                    <a:pt x="98" y="0"/>
                  </a:lnTo>
                  <a:lnTo>
                    <a:pt x="98" y="0"/>
                  </a:lnTo>
                  <a:lnTo>
                    <a:pt x="78" y="2"/>
                  </a:lnTo>
                  <a:lnTo>
                    <a:pt x="60" y="8"/>
                  </a:lnTo>
                  <a:lnTo>
                    <a:pt x="44" y="16"/>
                  </a:lnTo>
                  <a:lnTo>
                    <a:pt x="28" y="28"/>
                  </a:lnTo>
                  <a:lnTo>
                    <a:pt x="16" y="44"/>
                  </a:lnTo>
                  <a:lnTo>
                    <a:pt x="8" y="60"/>
                  </a:lnTo>
                  <a:lnTo>
                    <a:pt x="2" y="78"/>
                  </a:lnTo>
                  <a:lnTo>
                    <a:pt x="0" y="98"/>
                  </a:lnTo>
                  <a:lnTo>
                    <a:pt x="0" y="294"/>
                  </a:lnTo>
                  <a:lnTo>
                    <a:pt x="0" y="294"/>
                  </a:lnTo>
                  <a:lnTo>
                    <a:pt x="2" y="312"/>
                  </a:lnTo>
                  <a:lnTo>
                    <a:pt x="8" y="332"/>
                  </a:lnTo>
                  <a:lnTo>
                    <a:pt x="16" y="348"/>
                  </a:lnTo>
                  <a:lnTo>
                    <a:pt x="28" y="362"/>
                  </a:lnTo>
                  <a:lnTo>
                    <a:pt x="44" y="374"/>
                  </a:lnTo>
                  <a:lnTo>
                    <a:pt x="60" y="384"/>
                  </a:lnTo>
                  <a:lnTo>
                    <a:pt x="78" y="388"/>
                  </a:lnTo>
                  <a:lnTo>
                    <a:pt x="98" y="390"/>
                  </a:lnTo>
                  <a:lnTo>
                    <a:pt x="978" y="390"/>
                  </a:lnTo>
                  <a:lnTo>
                    <a:pt x="978" y="390"/>
                  </a:lnTo>
                  <a:lnTo>
                    <a:pt x="998" y="388"/>
                  </a:lnTo>
                  <a:lnTo>
                    <a:pt x="1016" y="384"/>
                  </a:lnTo>
                  <a:lnTo>
                    <a:pt x="1032" y="374"/>
                  </a:lnTo>
                  <a:lnTo>
                    <a:pt x="1046" y="362"/>
                  </a:lnTo>
                  <a:lnTo>
                    <a:pt x="1058" y="348"/>
                  </a:lnTo>
                  <a:lnTo>
                    <a:pt x="1068" y="332"/>
                  </a:lnTo>
                  <a:lnTo>
                    <a:pt x="1074" y="312"/>
                  </a:lnTo>
                  <a:lnTo>
                    <a:pt x="1076" y="294"/>
                  </a:lnTo>
                  <a:lnTo>
                    <a:pt x="1076" y="98"/>
                  </a:lnTo>
                  <a:lnTo>
                    <a:pt x="1076" y="98"/>
                  </a:lnTo>
                  <a:lnTo>
                    <a:pt x="1074" y="78"/>
                  </a:lnTo>
                  <a:lnTo>
                    <a:pt x="1068" y="60"/>
                  </a:lnTo>
                  <a:lnTo>
                    <a:pt x="1058" y="44"/>
                  </a:lnTo>
                  <a:lnTo>
                    <a:pt x="1046" y="28"/>
                  </a:lnTo>
                  <a:lnTo>
                    <a:pt x="1032" y="16"/>
                  </a:lnTo>
                  <a:lnTo>
                    <a:pt x="1016" y="8"/>
                  </a:lnTo>
                  <a:lnTo>
                    <a:pt x="998" y="2"/>
                  </a:lnTo>
                  <a:lnTo>
                    <a:pt x="978" y="0"/>
                  </a:lnTo>
                  <a:lnTo>
                    <a:pt x="978" y="0"/>
                  </a:lnTo>
                  <a:close/>
                  <a:moveTo>
                    <a:pt x="538" y="212"/>
                  </a:moveTo>
                  <a:lnTo>
                    <a:pt x="538" y="212"/>
                  </a:lnTo>
                  <a:lnTo>
                    <a:pt x="522" y="210"/>
                  </a:lnTo>
                  <a:lnTo>
                    <a:pt x="506" y="206"/>
                  </a:lnTo>
                  <a:lnTo>
                    <a:pt x="492" y="198"/>
                  </a:lnTo>
                  <a:lnTo>
                    <a:pt x="480" y="188"/>
                  </a:lnTo>
                  <a:lnTo>
                    <a:pt x="470" y="176"/>
                  </a:lnTo>
                  <a:lnTo>
                    <a:pt x="462" y="162"/>
                  </a:lnTo>
                  <a:lnTo>
                    <a:pt x="458" y="146"/>
                  </a:lnTo>
                  <a:lnTo>
                    <a:pt x="456" y="130"/>
                  </a:lnTo>
                  <a:lnTo>
                    <a:pt x="456" y="130"/>
                  </a:lnTo>
                  <a:lnTo>
                    <a:pt x="458" y="114"/>
                  </a:lnTo>
                  <a:lnTo>
                    <a:pt x="462" y="98"/>
                  </a:lnTo>
                  <a:lnTo>
                    <a:pt x="470" y="84"/>
                  </a:lnTo>
                  <a:lnTo>
                    <a:pt x="480" y="72"/>
                  </a:lnTo>
                  <a:lnTo>
                    <a:pt x="492" y="62"/>
                  </a:lnTo>
                  <a:lnTo>
                    <a:pt x="506" y="56"/>
                  </a:lnTo>
                  <a:lnTo>
                    <a:pt x="522" y="50"/>
                  </a:lnTo>
                  <a:lnTo>
                    <a:pt x="538" y="48"/>
                  </a:lnTo>
                  <a:lnTo>
                    <a:pt x="538" y="48"/>
                  </a:lnTo>
                  <a:lnTo>
                    <a:pt x="554" y="50"/>
                  </a:lnTo>
                  <a:lnTo>
                    <a:pt x="570" y="56"/>
                  </a:lnTo>
                  <a:lnTo>
                    <a:pt x="584" y="62"/>
                  </a:lnTo>
                  <a:lnTo>
                    <a:pt x="596" y="72"/>
                  </a:lnTo>
                  <a:lnTo>
                    <a:pt x="606" y="84"/>
                  </a:lnTo>
                  <a:lnTo>
                    <a:pt x="612" y="98"/>
                  </a:lnTo>
                  <a:lnTo>
                    <a:pt x="618" y="114"/>
                  </a:lnTo>
                  <a:lnTo>
                    <a:pt x="618" y="130"/>
                  </a:lnTo>
                  <a:lnTo>
                    <a:pt x="618" y="130"/>
                  </a:lnTo>
                  <a:lnTo>
                    <a:pt x="618" y="146"/>
                  </a:lnTo>
                  <a:lnTo>
                    <a:pt x="612" y="162"/>
                  </a:lnTo>
                  <a:lnTo>
                    <a:pt x="606" y="176"/>
                  </a:lnTo>
                  <a:lnTo>
                    <a:pt x="596" y="188"/>
                  </a:lnTo>
                  <a:lnTo>
                    <a:pt x="584" y="198"/>
                  </a:lnTo>
                  <a:lnTo>
                    <a:pt x="570" y="206"/>
                  </a:lnTo>
                  <a:lnTo>
                    <a:pt x="554" y="210"/>
                  </a:lnTo>
                  <a:lnTo>
                    <a:pt x="538" y="212"/>
                  </a:lnTo>
                  <a:lnTo>
                    <a:pt x="538" y="212"/>
                  </a:lnTo>
                  <a:close/>
                </a:path>
              </a:pathLst>
            </a:custGeom>
            <a:solidFill>
              <a:srgbClr val="A59E8F">
                <a:lumMod val="40000"/>
                <a:lumOff val="6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  <p:sp>
          <p:nvSpPr>
            <p:cNvPr id="62" name="Freeform 10"/>
            <p:cNvSpPr>
              <a:spLocks noEditPoints="1"/>
            </p:cNvSpPr>
            <p:nvPr/>
          </p:nvSpPr>
          <p:spPr bwMode="auto">
            <a:xfrm>
              <a:off x="3518" y="384"/>
              <a:ext cx="575" cy="1042"/>
            </a:xfrm>
            <a:custGeom>
              <a:avLst/>
              <a:gdLst>
                <a:gd name="T0" fmla="*/ 98 w 576"/>
                <a:gd name="T1" fmla="*/ 0 h 1042"/>
                <a:gd name="T2" fmla="*/ 78 w 576"/>
                <a:gd name="T3" fmla="*/ 2 h 1042"/>
                <a:gd name="T4" fmla="*/ 42 w 576"/>
                <a:gd name="T5" fmla="*/ 18 h 1042"/>
                <a:gd name="T6" fmla="*/ 16 w 576"/>
                <a:gd name="T7" fmla="*/ 44 h 1042"/>
                <a:gd name="T8" fmla="*/ 2 w 576"/>
                <a:gd name="T9" fmla="*/ 78 h 1042"/>
                <a:gd name="T10" fmla="*/ 0 w 576"/>
                <a:gd name="T11" fmla="*/ 946 h 1042"/>
                <a:gd name="T12" fmla="*/ 2 w 576"/>
                <a:gd name="T13" fmla="*/ 964 h 1042"/>
                <a:gd name="T14" fmla="*/ 16 w 576"/>
                <a:gd name="T15" fmla="*/ 1000 h 1042"/>
                <a:gd name="T16" fmla="*/ 42 w 576"/>
                <a:gd name="T17" fmla="*/ 1026 h 1042"/>
                <a:gd name="T18" fmla="*/ 78 w 576"/>
                <a:gd name="T19" fmla="*/ 1040 h 1042"/>
                <a:gd name="T20" fmla="*/ 478 w 576"/>
                <a:gd name="T21" fmla="*/ 1042 h 1042"/>
                <a:gd name="T22" fmla="*/ 498 w 576"/>
                <a:gd name="T23" fmla="*/ 1040 h 1042"/>
                <a:gd name="T24" fmla="*/ 532 w 576"/>
                <a:gd name="T25" fmla="*/ 1026 h 1042"/>
                <a:gd name="T26" fmla="*/ 558 w 576"/>
                <a:gd name="T27" fmla="*/ 1000 h 1042"/>
                <a:gd name="T28" fmla="*/ 574 w 576"/>
                <a:gd name="T29" fmla="*/ 964 h 1042"/>
                <a:gd name="T30" fmla="*/ 576 w 576"/>
                <a:gd name="T31" fmla="*/ 98 h 1042"/>
                <a:gd name="T32" fmla="*/ 574 w 576"/>
                <a:gd name="T33" fmla="*/ 78 h 1042"/>
                <a:gd name="T34" fmla="*/ 558 w 576"/>
                <a:gd name="T35" fmla="*/ 44 h 1042"/>
                <a:gd name="T36" fmla="*/ 532 w 576"/>
                <a:gd name="T37" fmla="*/ 18 h 1042"/>
                <a:gd name="T38" fmla="*/ 498 w 576"/>
                <a:gd name="T39" fmla="*/ 2 h 1042"/>
                <a:gd name="T40" fmla="*/ 478 w 576"/>
                <a:gd name="T41" fmla="*/ 0 h 1042"/>
                <a:gd name="T42" fmla="*/ 288 w 576"/>
                <a:gd name="T43" fmla="*/ 940 h 1042"/>
                <a:gd name="T44" fmla="*/ 256 w 576"/>
                <a:gd name="T45" fmla="*/ 934 h 1042"/>
                <a:gd name="T46" fmla="*/ 230 w 576"/>
                <a:gd name="T47" fmla="*/ 916 h 1042"/>
                <a:gd name="T48" fmla="*/ 212 w 576"/>
                <a:gd name="T49" fmla="*/ 890 h 1042"/>
                <a:gd name="T50" fmla="*/ 206 w 576"/>
                <a:gd name="T51" fmla="*/ 858 h 1042"/>
                <a:gd name="T52" fmla="*/ 208 w 576"/>
                <a:gd name="T53" fmla="*/ 842 h 1042"/>
                <a:gd name="T54" fmla="*/ 220 w 576"/>
                <a:gd name="T55" fmla="*/ 812 h 1042"/>
                <a:gd name="T56" fmla="*/ 242 w 576"/>
                <a:gd name="T57" fmla="*/ 790 h 1042"/>
                <a:gd name="T58" fmla="*/ 272 w 576"/>
                <a:gd name="T59" fmla="*/ 778 h 1042"/>
                <a:gd name="T60" fmla="*/ 288 w 576"/>
                <a:gd name="T61" fmla="*/ 776 h 1042"/>
                <a:gd name="T62" fmla="*/ 320 w 576"/>
                <a:gd name="T63" fmla="*/ 784 h 1042"/>
                <a:gd name="T64" fmla="*/ 346 w 576"/>
                <a:gd name="T65" fmla="*/ 800 h 1042"/>
                <a:gd name="T66" fmla="*/ 362 w 576"/>
                <a:gd name="T67" fmla="*/ 826 h 1042"/>
                <a:gd name="T68" fmla="*/ 368 w 576"/>
                <a:gd name="T69" fmla="*/ 858 h 1042"/>
                <a:gd name="T70" fmla="*/ 368 w 576"/>
                <a:gd name="T71" fmla="*/ 874 h 1042"/>
                <a:gd name="T72" fmla="*/ 356 w 576"/>
                <a:gd name="T73" fmla="*/ 904 h 1042"/>
                <a:gd name="T74" fmla="*/ 334 w 576"/>
                <a:gd name="T75" fmla="*/ 926 h 1042"/>
                <a:gd name="T76" fmla="*/ 304 w 576"/>
                <a:gd name="T77" fmla="*/ 938 h 1042"/>
                <a:gd name="T78" fmla="*/ 288 w 576"/>
                <a:gd name="T79" fmla="*/ 940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76" h="1042">
                  <a:moveTo>
                    <a:pt x="478" y="0"/>
                  </a:moveTo>
                  <a:lnTo>
                    <a:pt x="98" y="0"/>
                  </a:lnTo>
                  <a:lnTo>
                    <a:pt x="98" y="0"/>
                  </a:lnTo>
                  <a:lnTo>
                    <a:pt x="78" y="2"/>
                  </a:lnTo>
                  <a:lnTo>
                    <a:pt x="60" y="8"/>
                  </a:lnTo>
                  <a:lnTo>
                    <a:pt x="42" y="18"/>
                  </a:lnTo>
                  <a:lnTo>
                    <a:pt x="28" y="28"/>
                  </a:lnTo>
                  <a:lnTo>
                    <a:pt x="16" y="44"/>
                  </a:lnTo>
                  <a:lnTo>
                    <a:pt x="8" y="60"/>
                  </a:lnTo>
                  <a:lnTo>
                    <a:pt x="2" y="78"/>
                  </a:lnTo>
                  <a:lnTo>
                    <a:pt x="0" y="98"/>
                  </a:lnTo>
                  <a:lnTo>
                    <a:pt x="0" y="946"/>
                  </a:lnTo>
                  <a:lnTo>
                    <a:pt x="0" y="946"/>
                  </a:lnTo>
                  <a:lnTo>
                    <a:pt x="2" y="964"/>
                  </a:lnTo>
                  <a:lnTo>
                    <a:pt x="8" y="984"/>
                  </a:lnTo>
                  <a:lnTo>
                    <a:pt x="16" y="1000"/>
                  </a:lnTo>
                  <a:lnTo>
                    <a:pt x="28" y="1014"/>
                  </a:lnTo>
                  <a:lnTo>
                    <a:pt x="42" y="1026"/>
                  </a:lnTo>
                  <a:lnTo>
                    <a:pt x="60" y="1036"/>
                  </a:lnTo>
                  <a:lnTo>
                    <a:pt x="78" y="1040"/>
                  </a:lnTo>
                  <a:lnTo>
                    <a:pt x="98" y="1042"/>
                  </a:lnTo>
                  <a:lnTo>
                    <a:pt x="478" y="1042"/>
                  </a:lnTo>
                  <a:lnTo>
                    <a:pt x="478" y="1042"/>
                  </a:lnTo>
                  <a:lnTo>
                    <a:pt x="498" y="1040"/>
                  </a:lnTo>
                  <a:lnTo>
                    <a:pt x="516" y="1036"/>
                  </a:lnTo>
                  <a:lnTo>
                    <a:pt x="532" y="1026"/>
                  </a:lnTo>
                  <a:lnTo>
                    <a:pt x="546" y="1014"/>
                  </a:lnTo>
                  <a:lnTo>
                    <a:pt x="558" y="1000"/>
                  </a:lnTo>
                  <a:lnTo>
                    <a:pt x="568" y="984"/>
                  </a:lnTo>
                  <a:lnTo>
                    <a:pt x="574" y="964"/>
                  </a:lnTo>
                  <a:lnTo>
                    <a:pt x="576" y="946"/>
                  </a:lnTo>
                  <a:lnTo>
                    <a:pt x="576" y="98"/>
                  </a:lnTo>
                  <a:lnTo>
                    <a:pt x="576" y="98"/>
                  </a:lnTo>
                  <a:lnTo>
                    <a:pt x="574" y="78"/>
                  </a:lnTo>
                  <a:lnTo>
                    <a:pt x="568" y="60"/>
                  </a:lnTo>
                  <a:lnTo>
                    <a:pt x="558" y="44"/>
                  </a:lnTo>
                  <a:lnTo>
                    <a:pt x="546" y="28"/>
                  </a:lnTo>
                  <a:lnTo>
                    <a:pt x="532" y="18"/>
                  </a:lnTo>
                  <a:lnTo>
                    <a:pt x="516" y="8"/>
                  </a:lnTo>
                  <a:lnTo>
                    <a:pt x="498" y="2"/>
                  </a:lnTo>
                  <a:lnTo>
                    <a:pt x="478" y="0"/>
                  </a:lnTo>
                  <a:lnTo>
                    <a:pt x="478" y="0"/>
                  </a:lnTo>
                  <a:close/>
                  <a:moveTo>
                    <a:pt x="288" y="940"/>
                  </a:moveTo>
                  <a:lnTo>
                    <a:pt x="288" y="940"/>
                  </a:lnTo>
                  <a:lnTo>
                    <a:pt x="272" y="938"/>
                  </a:lnTo>
                  <a:lnTo>
                    <a:pt x="256" y="934"/>
                  </a:lnTo>
                  <a:lnTo>
                    <a:pt x="242" y="926"/>
                  </a:lnTo>
                  <a:lnTo>
                    <a:pt x="230" y="916"/>
                  </a:lnTo>
                  <a:lnTo>
                    <a:pt x="220" y="904"/>
                  </a:lnTo>
                  <a:lnTo>
                    <a:pt x="212" y="890"/>
                  </a:lnTo>
                  <a:lnTo>
                    <a:pt x="208" y="874"/>
                  </a:lnTo>
                  <a:lnTo>
                    <a:pt x="206" y="858"/>
                  </a:lnTo>
                  <a:lnTo>
                    <a:pt x="206" y="858"/>
                  </a:lnTo>
                  <a:lnTo>
                    <a:pt x="208" y="842"/>
                  </a:lnTo>
                  <a:lnTo>
                    <a:pt x="212" y="826"/>
                  </a:lnTo>
                  <a:lnTo>
                    <a:pt x="220" y="812"/>
                  </a:lnTo>
                  <a:lnTo>
                    <a:pt x="230" y="800"/>
                  </a:lnTo>
                  <a:lnTo>
                    <a:pt x="242" y="790"/>
                  </a:lnTo>
                  <a:lnTo>
                    <a:pt x="256" y="784"/>
                  </a:lnTo>
                  <a:lnTo>
                    <a:pt x="272" y="778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304" y="778"/>
                  </a:lnTo>
                  <a:lnTo>
                    <a:pt x="320" y="784"/>
                  </a:lnTo>
                  <a:lnTo>
                    <a:pt x="334" y="790"/>
                  </a:lnTo>
                  <a:lnTo>
                    <a:pt x="346" y="800"/>
                  </a:lnTo>
                  <a:lnTo>
                    <a:pt x="356" y="812"/>
                  </a:lnTo>
                  <a:lnTo>
                    <a:pt x="362" y="826"/>
                  </a:lnTo>
                  <a:lnTo>
                    <a:pt x="368" y="842"/>
                  </a:lnTo>
                  <a:lnTo>
                    <a:pt x="368" y="858"/>
                  </a:lnTo>
                  <a:lnTo>
                    <a:pt x="368" y="858"/>
                  </a:lnTo>
                  <a:lnTo>
                    <a:pt x="368" y="874"/>
                  </a:lnTo>
                  <a:lnTo>
                    <a:pt x="362" y="890"/>
                  </a:lnTo>
                  <a:lnTo>
                    <a:pt x="356" y="904"/>
                  </a:lnTo>
                  <a:lnTo>
                    <a:pt x="346" y="916"/>
                  </a:lnTo>
                  <a:lnTo>
                    <a:pt x="334" y="926"/>
                  </a:lnTo>
                  <a:lnTo>
                    <a:pt x="320" y="934"/>
                  </a:lnTo>
                  <a:lnTo>
                    <a:pt x="304" y="938"/>
                  </a:lnTo>
                  <a:lnTo>
                    <a:pt x="288" y="940"/>
                  </a:lnTo>
                  <a:lnTo>
                    <a:pt x="288" y="940"/>
                  </a:lnTo>
                  <a:close/>
                </a:path>
              </a:pathLst>
            </a:custGeom>
            <a:gradFill>
              <a:gsLst>
                <a:gs pos="70000">
                  <a:srgbClr val="FFFFFF">
                    <a:lumMod val="40000"/>
                    <a:lumOff val="60000"/>
                  </a:srgbClr>
                </a:gs>
                <a:gs pos="100000">
                  <a:srgbClr val="C2C2C2"/>
                </a:gs>
                <a:gs pos="0">
                  <a:srgbClr val="C2C2C2"/>
                </a:gs>
                <a:gs pos="45000">
                  <a:srgbClr val="FFFFFF">
                    <a:lumMod val="95000"/>
                    <a:lumOff val="5000"/>
                  </a:srgbClr>
                </a:gs>
                <a:gs pos="78000">
                  <a:srgbClr val="989898">
                    <a:lumMod val="18000"/>
                    <a:lumOff val="82000"/>
                  </a:srgbClr>
                </a:gs>
                <a:gs pos="32000">
                  <a:srgbClr val="FFFFFF">
                    <a:lumMod val="81000"/>
                  </a:srgbClr>
                </a:gs>
              </a:gsLst>
              <a:lin ang="3600000" scaled="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8580" tIns="34290" rIns="68580" bIns="3429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  <a:cs typeface="Arial"/>
              </a:endParaRPr>
            </a:p>
          </p:txBody>
        </p:sp>
      </p:grpSp>
      <p:sp>
        <p:nvSpPr>
          <p:cNvPr id="63" name="TextBox 81"/>
          <p:cNvSpPr txBox="1"/>
          <p:nvPr/>
        </p:nvSpPr>
        <p:spPr>
          <a:xfrm rot="21322890">
            <a:off x="2127965" y="3375387"/>
            <a:ext cx="2255838" cy="13157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sz="1350" b="1" dirty="0" err="1">
                <a:solidFill>
                  <a:prstClr val="black"/>
                </a:solidFill>
                <a:latin typeface="Arial" charset="0"/>
                <a:ea typeface="MS PGothic" pitchFamily="34" charset="-128"/>
                <a:cs typeface="+mn-cs"/>
              </a:rPr>
              <a:t>Xuan</a:t>
            </a:r>
            <a:r>
              <a:rPr lang="en-US" sz="1350" b="1" dirty="0">
                <a:solidFill>
                  <a:prstClr val="black"/>
                </a:solidFill>
                <a:latin typeface="Arial" charset="0"/>
                <a:ea typeface="MS PGothic" pitchFamily="34" charset="-128"/>
                <a:cs typeface="+mn-cs"/>
              </a:rPr>
              <a:t>-Hoa </a:t>
            </a:r>
            <a:r>
              <a:rPr lang="en-US" sz="1350" b="1" dirty="0" smtClean="0">
                <a:solidFill>
                  <a:prstClr val="black"/>
                </a:solidFill>
                <a:latin typeface="Arial" charset="0"/>
                <a:ea typeface="MS PGothic" pitchFamily="34" charset="-128"/>
                <a:cs typeface="+mn-cs"/>
              </a:rPr>
              <a:t>Tran</a:t>
            </a:r>
            <a:endParaRPr lang="en-US" sz="900" b="1" dirty="0">
              <a:solidFill>
                <a:prstClr val="black"/>
              </a:solidFill>
              <a:latin typeface="Arial" charset="0"/>
              <a:ea typeface="MS PGothic" pitchFamily="34" charset="-128"/>
              <a:cs typeface="+mn-cs"/>
            </a:endParaRPr>
          </a:p>
          <a:p>
            <a:pPr>
              <a:defRPr/>
            </a:pPr>
            <a:r>
              <a:rPr lang="en-US" sz="1200" b="1" dirty="0" err="1" smtClean="0">
                <a:solidFill>
                  <a:prstClr val="black"/>
                </a:solidFill>
                <a:latin typeface="Arial" charset="0"/>
                <a:ea typeface="MS PGothic" pitchFamily="34" charset="-128"/>
                <a:cs typeface="+mn-cs"/>
              </a:rPr>
              <a:t>Directeur</a:t>
            </a:r>
            <a:endParaRPr lang="en-US" sz="1200" b="1" dirty="0">
              <a:solidFill>
                <a:prstClr val="black"/>
              </a:solidFill>
              <a:latin typeface="Arial" charset="0"/>
              <a:ea typeface="MS PGothic" pitchFamily="34" charset="-128"/>
              <a:cs typeface="+mn-cs"/>
            </a:endParaRPr>
          </a:p>
          <a:p>
            <a:pPr>
              <a:defRPr/>
            </a:pPr>
            <a:r>
              <a:rPr lang="fr-CA" sz="1000" dirty="0" smtClean="0">
                <a:latin typeface="Arial" charset="0"/>
                <a:ea typeface="MS PGothic" pitchFamily="34" charset="-128"/>
                <a:cs typeface="+mn-cs"/>
              </a:rPr>
              <a:t>Centre de performance, Gestion de projets </a:t>
            </a:r>
          </a:p>
          <a:p>
            <a:pPr>
              <a:defRPr/>
            </a:pPr>
            <a:r>
              <a:rPr lang="fr-CA" sz="1000" dirty="0" smtClean="0">
                <a:latin typeface="Arial" charset="0"/>
                <a:ea typeface="MS PGothic" pitchFamily="34" charset="-128"/>
                <a:cs typeface="+mn-cs"/>
              </a:rPr>
              <a:t>Mouvement Desjardins</a:t>
            </a:r>
            <a:endParaRPr lang="en-US" sz="1000" dirty="0">
              <a:solidFill>
                <a:prstClr val="black"/>
              </a:solidFill>
              <a:latin typeface="Arial" charset="0"/>
              <a:ea typeface="MS PGothic" pitchFamily="34" charset="-128"/>
              <a:cs typeface="+mn-cs"/>
            </a:endParaRPr>
          </a:p>
          <a:p>
            <a:pPr>
              <a:defRPr/>
            </a:pPr>
            <a:r>
              <a:rPr lang="en-US" sz="1200" dirty="0">
                <a:solidFill>
                  <a:prstClr val="black"/>
                </a:solidFill>
                <a:latin typeface="Arial" charset="0"/>
                <a:ea typeface="MS PGothic" pitchFamily="34" charset="-128"/>
                <a:cs typeface="+mn-cs"/>
              </a:rPr>
              <a:t/>
            </a:r>
            <a:br>
              <a:rPr lang="en-US" sz="1200" dirty="0">
                <a:solidFill>
                  <a:prstClr val="black"/>
                </a:solidFill>
                <a:latin typeface="Arial" charset="0"/>
                <a:ea typeface="MS PGothic" pitchFamily="34" charset="-128"/>
                <a:cs typeface="+mn-cs"/>
              </a:rPr>
            </a:br>
            <a:endParaRPr lang="en-US" sz="1200" dirty="0">
              <a:solidFill>
                <a:prstClr val="black"/>
              </a:solidFill>
              <a:latin typeface="Arial" charset="0"/>
              <a:ea typeface="MS PGothic" pitchFamily="34" charset="-128"/>
              <a:cs typeface="+mn-cs"/>
            </a:endParaRPr>
          </a:p>
        </p:txBody>
      </p:sp>
      <p:pic>
        <p:nvPicPr>
          <p:cNvPr id="65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408545">
            <a:off x="3403600" y="4714875"/>
            <a:ext cx="10287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49080">
            <a:off x="7422522" y="4688218"/>
            <a:ext cx="102870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" name="TextBox 81"/>
          <p:cNvSpPr txBox="1"/>
          <p:nvPr/>
        </p:nvSpPr>
        <p:spPr>
          <a:xfrm rot="220012">
            <a:off x="6170954" y="3357150"/>
            <a:ext cx="2240721" cy="117724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CA"/>
            </a:defPPr>
            <a:lvl1pPr>
              <a:defRPr sz="1350" b="1">
                <a:solidFill>
                  <a:prstClr val="black"/>
                </a:solidFill>
                <a:ea typeface="MS PGothic" pitchFamily="34" charset="-128"/>
              </a:defRPr>
            </a:lvl1pPr>
          </a:lstStyle>
          <a:p>
            <a:r>
              <a:rPr lang="en-US" dirty="0"/>
              <a:t>Jean-François </a:t>
            </a:r>
            <a:r>
              <a:rPr lang="en-US" dirty="0" err="1"/>
              <a:t>Mérette</a:t>
            </a:r>
            <a:endParaRPr lang="en-US" dirty="0"/>
          </a:p>
          <a:p>
            <a:r>
              <a:rPr lang="en-US" sz="1200" dirty="0" err="1"/>
              <a:t>Directeur</a:t>
            </a:r>
            <a:r>
              <a:rPr lang="en-US" sz="1200" dirty="0"/>
              <a:t> Principal</a:t>
            </a:r>
          </a:p>
          <a:p>
            <a:r>
              <a:rPr lang="en-US" sz="1000" b="0" dirty="0" err="1">
                <a:solidFill>
                  <a:schemeClr val="tx1"/>
                </a:solidFill>
              </a:rPr>
              <a:t>Évolution</a:t>
            </a:r>
            <a:r>
              <a:rPr lang="en-US" sz="1000" b="0" dirty="0">
                <a:solidFill>
                  <a:schemeClr val="tx1"/>
                </a:solidFill>
              </a:rPr>
              <a:t> des projets</a:t>
            </a:r>
            <a:br>
              <a:rPr lang="en-US" sz="1000" b="0" dirty="0">
                <a:solidFill>
                  <a:schemeClr val="tx1"/>
                </a:solidFill>
              </a:rPr>
            </a:br>
            <a:r>
              <a:rPr lang="en-US" sz="1000" b="0" dirty="0" err="1">
                <a:solidFill>
                  <a:schemeClr val="tx1"/>
                </a:solidFill>
              </a:rPr>
              <a:t>Opérations</a:t>
            </a:r>
            <a:r>
              <a:rPr lang="en-US" sz="1000" b="0" dirty="0">
                <a:solidFill>
                  <a:schemeClr val="tx1"/>
                </a:solidFill>
              </a:rPr>
              <a:t> et Performance,</a:t>
            </a:r>
            <a:br>
              <a:rPr lang="en-US" sz="1000" b="0" dirty="0">
                <a:solidFill>
                  <a:schemeClr val="tx1"/>
                </a:solidFill>
              </a:rPr>
            </a:br>
            <a:r>
              <a:rPr lang="en-US" sz="1000" b="0" dirty="0" err="1">
                <a:solidFill>
                  <a:schemeClr val="tx1"/>
                </a:solidFill>
              </a:rPr>
              <a:t>Mouvement</a:t>
            </a:r>
            <a:r>
              <a:rPr lang="en-US" sz="1000" b="0" dirty="0">
                <a:solidFill>
                  <a:schemeClr val="tx1"/>
                </a:solidFill>
              </a:rPr>
              <a:t> Desjardins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pic>
        <p:nvPicPr>
          <p:cNvPr id="7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4450">
            <a:off x="5216885" y="3404622"/>
            <a:ext cx="787182" cy="698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92751">
            <a:off x="907057" y="3518258"/>
            <a:ext cx="1118274" cy="1148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785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1D20DE-45FC-42D1-9179-410A1DB24A14}" type="slidenum">
              <a:rPr lang="fr-CA" altLang="fr-FR" smtClean="0"/>
              <a:pPr>
                <a:defRPr/>
              </a:pPr>
              <a:t>3</a:t>
            </a:fld>
            <a:endParaRPr lang="fr-CA" altLang="fr-FR"/>
          </a:p>
        </p:txBody>
      </p:sp>
      <p:sp>
        <p:nvSpPr>
          <p:cNvPr id="19" name="Title 13"/>
          <p:cNvSpPr txBox="1">
            <a:spLocks/>
          </p:cNvSpPr>
          <p:nvPr/>
        </p:nvSpPr>
        <p:spPr bwMode="auto">
          <a:xfrm>
            <a:off x="387719" y="-31931"/>
            <a:ext cx="8153400" cy="58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800" b="1" dirty="0" smtClean="0">
                <a:solidFill>
                  <a:schemeClr val="bg1"/>
                </a:solidFill>
                <a:latin typeface="Calibri" pitchFamily="34" charset="0"/>
              </a:rPr>
              <a:t>Récipiendaire du prix GRAAL 2015</a:t>
            </a:r>
            <a:endParaRPr lang="fr-CA" altLang="fr-FR" sz="28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19" y="695325"/>
            <a:ext cx="4305300" cy="54673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022" y="1624012"/>
            <a:ext cx="4400550" cy="36099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61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1D20DE-45FC-42D1-9179-410A1DB24A14}" type="slidenum">
              <a:rPr lang="fr-CA" altLang="fr-FR" smtClean="0"/>
              <a:pPr>
                <a:defRPr/>
              </a:pPr>
              <a:t>4</a:t>
            </a:fld>
            <a:endParaRPr lang="fr-CA" altLang="fr-FR"/>
          </a:p>
        </p:txBody>
      </p:sp>
      <p:sp>
        <p:nvSpPr>
          <p:cNvPr id="19" name="Title 13"/>
          <p:cNvSpPr txBox="1">
            <a:spLocks/>
          </p:cNvSpPr>
          <p:nvPr/>
        </p:nvSpPr>
        <p:spPr bwMode="auto">
          <a:xfrm>
            <a:off x="387718" y="0"/>
            <a:ext cx="8756281" cy="584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800" b="1" dirty="0" smtClean="0">
                <a:solidFill>
                  <a:schemeClr val="bg1"/>
                </a:solidFill>
                <a:latin typeface="Calibri" pitchFamily="34" charset="0"/>
              </a:rPr>
              <a:t>2014 à aujourd’hui: une communauté mobilisée!</a:t>
            </a:r>
            <a:endParaRPr lang="fr-CA" altLang="fr-FR" sz="28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cxnSp>
        <p:nvCxnSpPr>
          <p:cNvPr id="6" name="line 28"/>
          <p:cNvCxnSpPr/>
          <p:nvPr/>
        </p:nvCxnSpPr>
        <p:spPr>
          <a:xfrm>
            <a:off x="495300" y="2435107"/>
            <a:ext cx="8153400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prstDash val="sysDot"/>
            <a:headEnd type="oval" w="med" len="med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hape 0"/>
          <p:cNvSpPr/>
          <p:nvPr/>
        </p:nvSpPr>
        <p:spPr>
          <a:xfrm>
            <a:off x="685800" y="2379699"/>
            <a:ext cx="228600" cy="10668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noAutofit/>
          </a:bodyPr>
          <a:lstStyle/>
          <a:p>
            <a:pPr algn="ctr"/>
            <a:r>
              <a:rPr lang="en-US" sz="1400" b="1" dirty="0"/>
              <a:t>2014</a:t>
            </a:r>
          </a:p>
        </p:txBody>
      </p:sp>
      <p:sp>
        <p:nvSpPr>
          <p:cNvPr id="8" name="Oval 29"/>
          <p:cNvSpPr/>
          <p:nvPr/>
        </p:nvSpPr>
        <p:spPr>
          <a:xfrm>
            <a:off x="696009" y="2336124"/>
            <a:ext cx="208183" cy="208183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/>
          </a:p>
        </p:txBody>
      </p:sp>
      <p:sp>
        <p:nvSpPr>
          <p:cNvPr id="11" name="shape 41"/>
          <p:cNvSpPr/>
          <p:nvPr/>
        </p:nvSpPr>
        <p:spPr>
          <a:xfrm>
            <a:off x="3455350" y="2379699"/>
            <a:ext cx="228600" cy="10668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noAutofit/>
          </a:bodyPr>
          <a:lstStyle/>
          <a:p>
            <a:pPr algn="ctr"/>
            <a:r>
              <a:rPr lang="en-US" sz="1400" b="1" dirty="0"/>
              <a:t>2015</a:t>
            </a:r>
          </a:p>
        </p:txBody>
      </p:sp>
      <p:sp>
        <p:nvSpPr>
          <p:cNvPr id="12" name="Oval 42"/>
          <p:cNvSpPr/>
          <p:nvPr/>
        </p:nvSpPr>
        <p:spPr>
          <a:xfrm>
            <a:off x="3465559" y="2336124"/>
            <a:ext cx="208183" cy="208183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/>
          </a:p>
        </p:txBody>
      </p:sp>
      <p:sp>
        <p:nvSpPr>
          <p:cNvPr id="15" name="shape 47"/>
          <p:cNvSpPr/>
          <p:nvPr/>
        </p:nvSpPr>
        <p:spPr>
          <a:xfrm>
            <a:off x="6224900" y="2379699"/>
            <a:ext cx="228600" cy="10668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>
            <a:noAutofit/>
          </a:bodyPr>
          <a:lstStyle/>
          <a:p>
            <a:pPr algn="ctr"/>
            <a:r>
              <a:rPr lang="en-US" sz="1400" b="1" dirty="0" smtClean="0"/>
              <a:t>2016</a:t>
            </a:r>
            <a:endParaRPr lang="en-US" sz="1400" b="1" dirty="0"/>
          </a:p>
        </p:txBody>
      </p:sp>
      <p:sp>
        <p:nvSpPr>
          <p:cNvPr id="16" name="Oval 48"/>
          <p:cNvSpPr/>
          <p:nvPr/>
        </p:nvSpPr>
        <p:spPr>
          <a:xfrm>
            <a:off x="6235109" y="2336124"/>
            <a:ext cx="208183" cy="208183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/>
            <a:endParaRPr lang="en-US"/>
          </a:p>
        </p:txBody>
      </p:sp>
      <p:sp>
        <p:nvSpPr>
          <p:cNvPr id="20" name="Text 52"/>
          <p:cNvSpPr txBox="1"/>
          <p:nvPr/>
        </p:nvSpPr>
        <p:spPr>
          <a:xfrm>
            <a:off x="909543" y="2472220"/>
            <a:ext cx="2429080" cy="1695571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Création de la communauté de pratique en analyse d’affaires</a:t>
            </a:r>
          </a:p>
          <a:p>
            <a:endParaRPr lang="fr-CA" sz="1200" b="1" dirty="0" smtClean="0">
              <a:latin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Lancement de 8 initiatives</a:t>
            </a:r>
          </a:p>
          <a:p>
            <a:pPr marL="171450" indent="-171450">
              <a:buFontTx/>
              <a:buChar char="-"/>
            </a:pPr>
            <a:endParaRPr lang="fr-CA" sz="1200" b="1" dirty="0">
              <a:latin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3 équipes d’analystes d’affaires représentées </a:t>
            </a:r>
          </a:p>
          <a:p>
            <a:pPr marL="171450" indent="-171450">
              <a:buFontTx/>
              <a:buChar char="-"/>
            </a:pPr>
            <a:endParaRPr lang="fr-CA" sz="1200" b="1" dirty="0" smtClean="0">
              <a:latin typeface="Calibri" panose="020F0502020204030204" pitchFamily="34" charset="0"/>
            </a:endParaRPr>
          </a:p>
          <a:p>
            <a:endParaRPr lang="fr-CA" sz="1200" b="1" dirty="0"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4428" y="1917189"/>
            <a:ext cx="9144000" cy="76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Text 52"/>
          <p:cNvSpPr txBox="1"/>
          <p:nvPr/>
        </p:nvSpPr>
        <p:spPr>
          <a:xfrm>
            <a:off x="3673317" y="2473263"/>
            <a:ext cx="2429080" cy="1695571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Prix GRAAL 2015</a:t>
            </a:r>
          </a:p>
          <a:p>
            <a:endParaRPr lang="fr-CA" sz="1200" b="1" dirty="0" smtClean="0">
              <a:latin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Annonce communauté de pratique portée Mouvement Desjardins</a:t>
            </a:r>
          </a:p>
          <a:p>
            <a:pPr marL="171450" indent="-171450">
              <a:buFontTx/>
              <a:buChar char="-"/>
            </a:pPr>
            <a:endParaRPr lang="fr-CA" sz="1200" b="1" dirty="0">
              <a:latin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fr-CA" sz="1200" b="1" dirty="0">
                <a:latin typeface="Calibri" panose="020F0502020204030204" pitchFamily="34" charset="0"/>
              </a:rPr>
              <a:t>7</a:t>
            </a:r>
            <a:r>
              <a:rPr lang="fr-CA" sz="1200" b="1" dirty="0" smtClean="0">
                <a:latin typeface="Calibri" panose="020F0502020204030204" pitchFamily="34" charset="0"/>
              </a:rPr>
              <a:t> équipes d’analystes d’affaires représentées </a:t>
            </a:r>
          </a:p>
          <a:p>
            <a:pPr marL="171450" indent="-171450">
              <a:buFontTx/>
              <a:buChar char="-"/>
            </a:pPr>
            <a:endParaRPr lang="fr-CA" sz="1200" b="1" dirty="0" smtClean="0">
              <a:latin typeface="Calibri" panose="020F0502020204030204" pitchFamily="34" charset="0"/>
            </a:endParaRPr>
          </a:p>
          <a:p>
            <a:endParaRPr lang="fr-CA" sz="1200" b="1" dirty="0">
              <a:latin typeface="+mj-lt"/>
            </a:endParaRPr>
          </a:p>
        </p:txBody>
      </p:sp>
      <p:sp>
        <p:nvSpPr>
          <p:cNvPr id="30" name="Text 52"/>
          <p:cNvSpPr txBox="1"/>
          <p:nvPr/>
        </p:nvSpPr>
        <p:spPr>
          <a:xfrm>
            <a:off x="6453500" y="2473263"/>
            <a:ext cx="2429080" cy="1695571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Communauté de pratique gestionnaires des analystes d’affaires</a:t>
            </a:r>
          </a:p>
          <a:p>
            <a:endParaRPr lang="fr-CA" sz="1200" b="1" dirty="0" smtClean="0">
              <a:latin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Communauté de pratique d’analystes d’affaires</a:t>
            </a:r>
          </a:p>
          <a:p>
            <a:pPr marL="171450" indent="-171450">
              <a:buFontTx/>
              <a:buChar char="-"/>
            </a:pPr>
            <a:endParaRPr lang="fr-CA" sz="1200" b="1" dirty="0">
              <a:latin typeface="Calibri" panose="020F0502020204030204" pitchFamily="34" charset="0"/>
            </a:endParaRPr>
          </a:p>
          <a:p>
            <a:pPr marL="171450" indent="-171450">
              <a:buFontTx/>
              <a:buChar char="-"/>
            </a:pPr>
            <a:r>
              <a:rPr lang="fr-CA" sz="1200" b="1" dirty="0" smtClean="0">
                <a:latin typeface="Calibri" panose="020F0502020204030204" pitchFamily="34" charset="0"/>
              </a:rPr>
              <a:t>5 initiatives porteuses priorisées</a:t>
            </a:r>
          </a:p>
          <a:p>
            <a:pPr marL="171450" indent="-171450">
              <a:buFontTx/>
              <a:buChar char="-"/>
            </a:pPr>
            <a:endParaRPr lang="fr-CA" sz="1200" b="1" dirty="0" smtClean="0">
              <a:latin typeface="Calibri" panose="020F0502020204030204" pitchFamily="34" charset="0"/>
            </a:endParaRPr>
          </a:p>
          <a:p>
            <a:endParaRPr lang="fr-CA" sz="1200" b="1" dirty="0"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-43783" y="4504428"/>
            <a:ext cx="9144000" cy="762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394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9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500"/>
                            </p:stCondLst>
                            <p:childTnLst>
                              <p:par>
                                <p:cTn id="5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1" grpId="0" animBg="1"/>
      <p:bldP spid="12" grpId="0" animBg="1"/>
      <p:bldP spid="15" grpId="0" animBg="1"/>
      <p:bldP spid="16" grpId="0" animBg="1"/>
      <p:bldP spid="20" grpId="0"/>
      <p:bldP spid="28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à coins arrondis 51"/>
          <p:cNvSpPr/>
          <p:nvPr/>
        </p:nvSpPr>
        <p:spPr>
          <a:xfrm>
            <a:off x="4711074" y="841167"/>
            <a:ext cx="4248000" cy="745882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CA" sz="2000" b="1" dirty="0" smtClean="0"/>
              <a:t>2015-2016 </a:t>
            </a:r>
            <a:r>
              <a:rPr lang="fr-CA" sz="2000" b="1" dirty="0"/>
              <a:t>– Application </a:t>
            </a:r>
          </a:p>
        </p:txBody>
      </p:sp>
      <p:sp>
        <p:nvSpPr>
          <p:cNvPr id="2" name="Rectangle à coins arrondis 1"/>
          <p:cNvSpPr/>
          <p:nvPr/>
        </p:nvSpPr>
        <p:spPr>
          <a:xfrm>
            <a:off x="251263" y="843148"/>
            <a:ext cx="4248150" cy="745882"/>
          </a:xfrm>
          <a:prstGeom prst="round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fr-CA" sz="2000" b="1" dirty="0" smtClean="0"/>
              <a:t>2014 – Définition </a:t>
            </a:r>
            <a:endParaRPr lang="fr-CA" sz="2000" b="1" dirty="0"/>
          </a:p>
        </p:txBody>
      </p:sp>
      <p:sp>
        <p:nvSpPr>
          <p:cNvPr id="13314" name="Titre 2"/>
          <p:cNvSpPr>
            <a:spLocks noGrp="1"/>
          </p:cNvSpPr>
          <p:nvPr>
            <p:ph type="title"/>
          </p:nvPr>
        </p:nvSpPr>
        <p:spPr>
          <a:xfrm>
            <a:off x="179619" y="42532"/>
            <a:ext cx="8275637" cy="423862"/>
          </a:xfrm>
        </p:spPr>
        <p:txBody>
          <a:bodyPr anchor="t"/>
          <a:lstStyle/>
          <a:p>
            <a:r>
              <a:rPr lang="fr-CA" altLang="fr-FR" sz="2000" b="1" dirty="0" smtClean="0">
                <a:solidFill>
                  <a:schemeClr val="bg1"/>
                </a:solidFill>
              </a:rPr>
              <a:t>Feuille de route 36 mois</a:t>
            </a:r>
          </a:p>
        </p:txBody>
      </p:sp>
      <p:sp>
        <p:nvSpPr>
          <p:cNvPr id="4" name="Rectangle à coins arrondis 3"/>
          <p:cNvSpPr/>
          <p:nvPr/>
        </p:nvSpPr>
        <p:spPr>
          <a:xfrm>
            <a:off x="420688" y="6078751"/>
            <a:ext cx="2365375" cy="165100"/>
          </a:xfrm>
          <a:prstGeom prst="roundRect">
            <a:avLst/>
          </a:prstGeom>
          <a:solidFill>
            <a:srgbClr val="92D050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defRPr/>
            </a:pPr>
            <a:r>
              <a:rPr lang="fr-CA" sz="900" b="1" dirty="0">
                <a:solidFill>
                  <a:schemeClr val="tx1"/>
                </a:solidFill>
              </a:rPr>
              <a:t>1- Processus/Pratiques et techniques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377888" y="1242648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1</a:t>
            </a:r>
            <a:endParaRPr lang="fr-CA" sz="1100" b="1" dirty="0">
              <a:solidFill>
                <a:schemeClr val="tx1"/>
              </a:solidFill>
            </a:endParaRPr>
          </a:p>
        </p:txBody>
      </p:sp>
      <p:cxnSp>
        <p:nvCxnSpPr>
          <p:cNvPr id="33" name="Connecteur droit 32"/>
          <p:cNvCxnSpPr/>
          <p:nvPr/>
        </p:nvCxnSpPr>
        <p:spPr>
          <a:xfrm>
            <a:off x="4635500" y="879930"/>
            <a:ext cx="0" cy="504825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à coins arrondis 47"/>
          <p:cNvSpPr/>
          <p:nvPr/>
        </p:nvSpPr>
        <p:spPr>
          <a:xfrm>
            <a:off x="428625" y="6288301"/>
            <a:ext cx="2363788" cy="165100"/>
          </a:xfrm>
          <a:prstGeom prst="roundRect">
            <a:avLst/>
          </a:prstGeom>
          <a:solidFill>
            <a:srgbClr val="00B0F0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defRPr/>
            </a:pPr>
            <a:r>
              <a:rPr lang="fr-CA" sz="900" b="1" dirty="0">
                <a:solidFill>
                  <a:schemeClr val="tx1"/>
                </a:solidFill>
              </a:rPr>
              <a:t>2- Livrables/Gabarits</a:t>
            </a:r>
          </a:p>
        </p:txBody>
      </p:sp>
      <p:sp>
        <p:nvSpPr>
          <p:cNvPr id="49" name="Rectangle à coins arrondis 48"/>
          <p:cNvSpPr/>
          <p:nvPr/>
        </p:nvSpPr>
        <p:spPr>
          <a:xfrm>
            <a:off x="430213" y="6488326"/>
            <a:ext cx="2365375" cy="165100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defRPr/>
            </a:pPr>
            <a:r>
              <a:rPr lang="fr-CA" sz="900" b="1" dirty="0">
                <a:solidFill>
                  <a:schemeClr val="tx1"/>
                </a:solidFill>
              </a:rPr>
              <a:t>3- Technologie</a:t>
            </a:r>
          </a:p>
        </p:txBody>
      </p:sp>
      <p:sp>
        <p:nvSpPr>
          <p:cNvPr id="50" name="Rectangle à coins arrondis 49"/>
          <p:cNvSpPr/>
          <p:nvPr/>
        </p:nvSpPr>
        <p:spPr>
          <a:xfrm>
            <a:off x="2841625" y="6100976"/>
            <a:ext cx="2363788" cy="165100"/>
          </a:xfrm>
          <a:prstGeom prst="roundRect">
            <a:avLst/>
          </a:prstGeom>
          <a:solidFill>
            <a:srgbClr val="FFFF00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defRPr/>
            </a:pPr>
            <a:r>
              <a:rPr lang="fr-CA" sz="900" b="1" dirty="0">
                <a:solidFill>
                  <a:schemeClr val="tx1"/>
                </a:solidFill>
              </a:rPr>
              <a:t>4- Organisation</a:t>
            </a:r>
          </a:p>
        </p:txBody>
      </p:sp>
      <p:sp>
        <p:nvSpPr>
          <p:cNvPr id="51" name="Rectangle à coins arrondis 50"/>
          <p:cNvSpPr/>
          <p:nvPr/>
        </p:nvSpPr>
        <p:spPr>
          <a:xfrm>
            <a:off x="2841625" y="6291476"/>
            <a:ext cx="2363788" cy="165100"/>
          </a:xfrm>
          <a:prstGeom prst="roundRect">
            <a:avLst/>
          </a:prstGeom>
          <a:solidFill>
            <a:srgbClr val="FFC000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defRPr/>
            </a:pPr>
            <a:r>
              <a:rPr lang="fr-CA" sz="900" b="1" dirty="0">
                <a:solidFill>
                  <a:schemeClr val="tx1"/>
                </a:solidFill>
              </a:rPr>
              <a:t>5- Compétences </a:t>
            </a:r>
          </a:p>
        </p:txBody>
      </p:sp>
      <p:sp>
        <p:nvSpPr>
          <p:cNvPr id="63" name="Rectangle à coins arrondis 62"/>
          <p:cNvSpPr/>
          <p:nvPr/>
        </p:nvSpPr>
        <p:spPr>
          <a:xfrm>
            <a:off x="2841625" y="6481976"/>
            <a:ext cx="2363788" cy="165100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>
              <a:defRPr/>
            </a:pPr>
            <a:r>
              <a:rPr lang="fr-CA" sz="900" b="1" dirty="0">
                <a:solidFill>
                  <a:schemeClr val="tx1"/>
                </a:solidFill>
              </a:rPr>
              <a:t>6- Indicateurs de performances (KPI)</a:t>
            </a:r>
          </a:p>
        </p:txBody>
      </p:sp>
      <p:sp>
        <p:nvSpPr>
          <p:cNvPr id="9" name="Rectangle 8"/>
          <p:cNvSpPr/>
          <p:nvPr/>
        </p:nvSpPr>
        <p:spPr>
          <a:xfrm>
            <a:off x="863888" y="1692791"/>
            <a:ext cx="3474912" cy="255238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1.1 Guide référentiel des activités et pratiques/techniques AA</a:t>
            </a:r>
          </a:p>
        </p:txBody>
      </p:sp>
      <p:sp>
        <p:nvSpPr>
          <p:cNvPr id="66" name="Rectangle 65"/>
          <p:cNvSpPr/>
          <p:nvPr/>
        </p:nvSpPr>
        <p:spPr>
          <a:xfrm>
            <a:off x="863889" y="2012067"/>
            <a:ext cx="2562150" cy="269875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2.1.1 Révision des gabarits et livrables  AA (Livrables PDD)</a:t>
            </a:r>
          </a:p>
        </p:txBody>
      </p:sp>
      <p:sp>
        <p:nvSpPr>
          <p:cNvPr id="67" name="Rectangle 66"/>
          <p:cNvSpPr/>
          <p:nvPr/>
        </p:nvSpPr>
        <p:spPr>
          <a:xfrm>
            <a:off x="863889" y="2393880"/>
            <a:ext cx="3474911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3.1 </a:t>
            </a:r>
            <a:r>
              <a:rPr lang="fr-CA" sz="800" b="1" dirty="0" smtClean="0">
                <a:solidFill>
                  <a:schemeClr val="tx1"/>
                </a:solidFill>
              </a:rPr>
              <a:t>Outils </a:t>
            </a:r>
            <a:r>
              <a:rPr lang="fr-CA" sz="800" b="1" dirty="0">
                <a:solidFill>
                  <a:schemeClr val="tx1"/>
                </a:solidFill>
              </a:rPr>
              <a:t>collaboratifs et de </a:t>
            </a:r>
            <a:r>
              <a:rPr lang="fr-CA" sz="800" b="1" dirty="0" smtClean="0">
                <a:solidFill>
                  <a:schemeClr val="tx1"/>
                </a:solidFill>
              </a:rPr>
              <a:t>partage COLLAB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449728" y="3069749"/>
            <a:ext cx="2375848" cy="309562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3.6 </a:t>
            </a:r>
            <a:r>
              <a:rPr lang="fr-CA" sz="800" b="1" dirty="0">
                <a:solidFill>
                  <a:schemeClr val="tx1"/>
                </a:solidFill>
              </a:rPr>
              <a:t>Intégration outil de modélisation Casewise à l’approche AA</a:t>
            </a:r>
          </a:p>
        </p:txBody>
      </p:sp>
      <p:sp>
        <p:nvSpPr>
          <p:cNvPr id="70" name="Rectangle 69"/>
          <p:cNvSpPr/>
          <p:nvPr/>
        </p:nvSpPr>
        <p:spPr>
          <a:xfrm>
            <a:off x="863888" y="2737042"/>
            <a:ext cx="3474912" cy="252000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3.4.1 Documentation </a:t>
            </a:r>
            <a:r>
              <a:rPr lang="fr-CA" sz="800" b="1" dirty="0">
                <a:solidFill>
                  <a:schemeClr val="tx1"/>
                </a:solidFill>
              </a:rPr>
              <a:t>du Méta-Modèle ( Business SCD ) </a:t>
            </a:r>
            <a:r>
              <a:rPr lang="fr-CA" sz="800" b="1" dirty="0" err="1" smtClean="0">
                <a:solidFill>
                  <a:schemeClr val="tx1"/>
                </a:solidFill>
              </a:rPr>
              <a:t>Casewise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863888" y="3131087"/>
            <a:ext cx="2441721" cy="269875"/>
          </a:xfrm>
          <a:prstGeom prst="rect">
            <a:avLst/>
          </a:prstGeom>
          <a:solidFill>
            <a:srgbClr val="FFFF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4.1 Définition du centre d’expertise AA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70178" y="3470029"/>
            <a:ext cx="7955397" cy="268288"/>
          </a:xfrm>
          <a:prstGeom prst="rect">
            <a:avLst/>
          </a:prstGeom>
          <a:solidFill>
            <a:srgbClr val="FFFF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4.2 Socialisation de l’organisation en Analyse d’affaires (</a:t>
            </a:r>
            <a:r>
              <a:rPr lang="fr-CA" sz="800" b="1" dirty="0" err="1">
                <a:solidFill>
                  <a:schemeClr val="tx1"/>
                </a:solidFill>
              </a:rPr>
              <a:t>Roadshows</a:t>
            </a:r>
            <a:r>
              <a:rPr lang="fr-CA" sz="800" b="1" dirty="0">
                <a:solidFill>
                  <a:schemeClr val="tx1"/>
                </a:solidFill>
              </a:rPr>
              <a:t> auprès des partenaires</a:t>
            </a:r>
            <a:r>
              <a:rPr lang="fr-CA" sz="800" b="1" dirty="0" smtClean="0">
                <a:solidFill>
                  <a:schemeClr val="tx1"/>
                </a:solidFill>
              </a:rPr>
              <a:t>) en collaboration avec le Programme PEP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540389" y="3778685"/>
            <a:ext cx="2100262" cy="269875"/>
          </a:xfrm>
          <a:prstGeom prst="rect">
            <a:avLst/>
          </a:prstGeom>
          <a:solidFill>
            <a:srgbClr val="FFFF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4.3 </a:t>
            </a:r>
            <a:r>
              <a:rPr lang="fr-CA" sz="800" b="1" dirty="0" smtClean="0">
                <a:solidFill>
                  <a:schemeClr val="tx1"/>
                </a:solidFill>
              </a:rPr>
              <a:t>Outil de rétroaction </a:t>
            </a:r>
            <a:r>
              <a:rPr lang="fr-CA" sz="800" b="1" dirty="0">
                <a:solidFill>
                  <a:schemeClr val="tx1"/>
                </a:solidFill>
              </a:rPr>
              <a:t>des partenaire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344050" y="2334392"/>
            <a:ext cx="1481526" cy="25200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2.2 Programme de </a:t>
            </a:r>
            <a:r>
              <a:rPr lang="fr-CA" sz="800" b="1" dirty="0" smtClean="0">
                <a:solidFill>
                  <a:schemeClr val="tx1"/>
                </a:solidFill>
              </a:rPr>
              <a:t>qualité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860412" y="1716541"/>
            <a:ext cx="2965163" cy="267741"/>
          </a:xfrm>
          <a:prstGeom prst="rect">
            <a:avLst/>
          </a:prstGeom>
          <a:solidFill>
            <a:srgbClr val="92D05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1.2 Boîtes à outils de pratiques et technique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859413" y="4751350"/>
            <a:ext cx="2640000" cy="269875"/>
          </a:xfrm>
          <a:prstGeom prst="rect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5.4 Groupe d’étude certification CBAP 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859413" y="4400504"/>
            <a:ext cx="2625499" cy="267201"/>
          </a:xfrm>
          <a:prstGeom prst="rect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5.1 Profil </a:t>
            </a:r>
            <a:r>
              <a:rPr lang="fr-CA" sz="800" b="1" dirty="0">
                <a:solidFill>
                  <a:schemeClr val="tx1"/>
                </a:solidFill>
              </a:rPr>
              <a:t>de </a:t>
            </a:r>
            <a:r>
              <a:rPr lang="fr-CA" sz="800" b="1" dirty="0" smtClean="0">
                <a:solidFill>
                  <a:schemeClr val="tx1"/>
                </a:solidFill>
              </a:rPr>
              <a:t>connaissances SCD et inventaire du bassin de connaissances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220195" y="4751350"/>
            <a:ext cx="1738879" cy="269875"/>
          </a:xfrm>
          <a:prstGeom prst="rect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5.3 </a:t>
            </a:r>
            <a:r>
              <a:rPr lang="fr-CA" sz="800" b="1" dirty="0" smtClean="0">
                <a:solidFill>
                  <a:schemeClr val="tx1"/>
                </a:solidFill>
              </a:rPr>
              <a:t>Cursus de développement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699749" y="5453167"/>
            <a:ext cx="1667051" cy="269875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6.1 Définition d’indicateurs de performance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366800" y="5418066"/>
            <a:ext cx="5592274" cy="304977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6.2 Suivi en continu des indicateurs de performanc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2421162" y="4096982"/>
            <a:ext cx="1219489" cy="255188"/>
          </a:xfrm>
          <a:prstGeom prst="rect">
            <a:avLst/>
          </a:prstGeom>
          <a:solidFill>
            <a:srgbClr val="FFFF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4.4 Analyse </a:t>
            </a:r>
            <a:r>
              <a:rPr lang="fr-CA" sz="800" b="1" dirty="0" smtClean="0">
                <a:solidFill>
                  <a:schemeClr val="tx1"/>
                </a:solidFill>
              </a:rPr>
              <a:t>d’écarts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707961" y="4397829"/>
            <a:ext cx="2476610" cy="269876"/>
          </a:xfrm>
          <a:prstGeom prst="rect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5.2.2 Révision du répertoire d’emplois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344050" y="2708177"/>
            <a:ext cx="1481526" cy="309562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3,5 Outils gestion des exigences</a:t>
            </a:r>
            <a:endParaRPr lang="fr-CA" sz="800" b="1" dirty="0">
              <a:solidFill>
                <a:schemeClr val="tx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860188" y="2026175"/>
            <a:ext cx="2965388" cy="252000"/>
          </a:xfrm>
          <a:prstGeom prst="rect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>
                <a:solidFill>
                  <a:schemeClr val="tx1"/>
                </a:solidFill>
              </a:rPr>
              <a:t>2.1.2 </a:t>
            </a:r>
            <a:r>
              <a:rPr lang="fr-CA" sz="800" b="1" dirty="0" smtClean="0">
                <a:solidFill>
                  <a:schemeClr val="tx1"/>
                </a:solidFill>
              </a:rPr>
              <a:t>Projets pilote </a:t>
            </a:r>
            <a:r>
              <a:rPr lang="fr-CA" sz="800" b="1" dirty="0">
                <a:solidFill>
                  <a:schemeClr val="tx1"/>
                </a:solidFill>
              </a:rPr>
              <a:t>pour piloter les gabarits et livrables</a:t>
            </a:r>
          </a:p>
        </p:txBody>
      </p:sp>
      <p:sp>
        <p:nvSpPr>
          <p:cNvPr id="53" name="Rectangle à coins arrondis 52"/>
          <p:cNvSpPr/>
          <p:nvPr/>
        </p:nvSpPr>
        <p:spPr>
          <a:xfrm>
            <a:off x="1373413" y="1252548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2</a:t>
            </a: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55" name="Rectangle à coins arrondis 54"/>
          <p:cNvSpPr/>
          <p:nvPr/>
        </p:nvSpPr>
        <p:spPr>
          <a:xfrm>
            <a:off x="2371275" y="1263154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3</a:t>
            </a: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56" name="Rectangle à coins arrondis 55"/>
          <p:cNvSpPr/>
          <p:nvPr/>
        </p:nvSpPr>
        <p:spPr>
          <a:xfrm>
            <a:off x="3366800" y="1261179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4</a:t>
            </a: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58" name="Rectangle à coins arrondis 57"/>
          <p:cNvSpPr/>
          <p:nvPr/>
        </p:nvSpPr>
        <p:spPr>
          <a:xfrm>
            <a:off x="4864663" y="1276298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1-T2</a:t>
            </a: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59" name="Rectangle à coins arrondis 58"/>
          <p:cNvSpPr/>
          <p:nvPr/>
        </p:nvSpPr>
        <p:spPr>
          <a:xfrm>
            <a:off x="5860188" y="1274323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3-T4</a:t>
            </a: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61" name="Rectangle à coins arrondis 60"/>
          <p:cNvSpPr/>
          <p:nvPr/>
        </p:nvSpPr>
        <p:spPr>
          <a:xfrm>
            <a:off x="6858050" y="1284929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1-T2</a:t>
            </a: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62" name="Rectangle à coins arrondis 61"/>
          <p:cNvSpPr/>
          <p:nvPr/>
        </p:nvSpPr>
        <p:spPr>
          <a:xfrm>
            <a:off x="7853575" y="1282954"/>
            <a:ext cx="972000" cy="288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>
              <a:defRPr/>
            </a:pPr>
            <a:r>
              <a:rPr lang="fr-CA" sz="1100" b="1" dirty="0" smtClean="0">
                <a:solidFill>
                  <a:schemeClr val="tx1"/>
                </a:solidFill>
              </a:rPr>
              <a:t>T3-T4</a:t>
            </a:r>
            <a:endParaRPr lang="fr-CA" sz="1100" b="1" dirty="0">
              <a:solidFill>
                <a:schemeClr val="tx1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3519" y="1614117"/>
            <a:ext cx="348207" cy="397950"/>
          </a:xfrm>
          <a:prstGeom prst="rect">
            <a:avLst/>
          </a:prstGeom>
        </p:spPr>
      </p:pic>
      <p:pic>
        <p:nvPicPr>
          <p:cNvPr id="65" name="Image 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506" y="1948029"/>
            <a:ext cx="348207" cy="397950"/>
          </a:xfrm>
          <a:prstGeom prst="rect">
            <a:avLst/>
          </a:prstGeom>
        </p:spPr>
      </p:pic>
      <p:pic>
        <p:nvPicPr>
          <p:cNvPr id="73" name="Image 7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281" y="2326054"/>
            <a:ext cx="348207" cy="397950"/>
          </a:xfrm>
          <a:prstGeom prst="rect">
            <a:avLst/>
          </a:prstGeom>
        </p:spPr>
      </p:pic>
      <p:pic>
        <p:nvPicPr>
          <p:cNvPr id="75" name="Image 7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7560" y="2627605"/>
            <a:ext cx="348207" cy="397950"/>
          </a:xfrm>
          <a:prstGeom prst="rect">
            <a:avLst/>
          </a:prstGeom>
        </p:spPr>
      </p:pic>
      <p:sp>
        <p:nvSpPr>
          <p:cNvPr id="76" name="Rectangle 75"/>
          <p:cNvSpPr/>
          <p:nvPr/>
        </p:nvSpPr>
        <p:spPr>
          <a:xfrm>
            <a:off x="4886502" y="2704361"/>
            <a:ext cx="2456380" cy="313378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3.4.2  Intégration du </a:t>
            </a:r>
            <a:r>
              <a:rPr lang="fr-CA" sz="800" b="1" dirty="0">
                <a:solidFill>
                  <a:schemeClr val="tx1"/>
                </a:solidFill>
              </a:rPr>
              <a:t>m</a:t>
            </a:r>
            <a:r>
              <a:rPr lang="fr-CA" sz="800" b="1" dirty="0" smtClean="0">
                <a:solidFill>
                  <a:schemeClr val="tx1"/>
                </a:solidFill>
              </a:rPr>
              <a:t>odule de </a:t>
            </a:r>
            <a:r>
              <a:rPr lang="fr-CA" sz="800" b="1" dirty="0" err="1" smtClean="0">
                <a:solidFill>
                  <a:schemeClr val="tx1"/>
                </a:solidFill>
              </a:rPr>
              <a:t>reporting</a:t>
            </a:r>
            <a:r>
              <a:rPr lang="fr-CA" sz="800" b="1" dirty="0" smtClean="0">
                <a:solidFill>
                  <a:schemeClr val="tx1"/>
                </a:solidFill>
              </a:rPr>
              <a:t> : interrogation du méta modèle (impacts)</a:t>
            </a:r>
            <a:endParaRPr lang="fr-CA" sz="800" b="1" dirty="0">
              <a:solidFill>
                <a:schemeClr val="tx1"/>
              </a:solidFill>
            </a:endParaRPr>
          </a:p>
        </p:txBody>
      </p:sp>
      <p:pic>
        <p:nvPicPr>
          <p:cNvPr id="78" name="Image 7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592" y="3989976"/>
            <a:ext cx="348207" cy="397950"/>
          </a:xfrm>
          <a:prstGeom prst="rect">
            <a:avLst/>
          </a:prstGeom>
        </p:spPr>
      </p:pic>
      <p:pic>
        <p:nvPicPr>
          <p:cNvPr id="79" name="Image 7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1152" y="3025555"/>
            <a:ext cx="348207" cy="397950"/>
          </a:xfrm>
          <a:prstGeom prst="rect">
            <a:avLst/>
          </a:prstGeom>
        </p:spPr>
      </p:pic>
      <p:pic>
        <p:nvPicPr>
          <p:cNvPr id="80" name="Image 7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4593" y="3676551"/>
            <a:ext cx="348207" cy="397950"/>
          </a:xfrm>
          <a:prstGeom prst="rect">
            <a:avLst/>
          </a:prstGeom>
        </p:spPr>
      </p:pic>
      <p:pic>
        <p:nvPicPr>
          <p:cNvPr id="81" name="Image 8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7293" y="4312237"/>
            <a:ext cx="348207" cy="397950"/>
          </a:xfrm>
          <a:prstGeom prst="rect">
            <a:avLst/>
          </a:prstGeom>
        </p:spPr>
      </p:pic>
      <p:pic>
        <p:nvPicPr>
          <p:cNvPr id="82" name="Image 8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7288" y="4675437"/>
            <a:ext cx="348207" cy="397950"/>
          </a:xfrm>
          <a:prstGeom prst="rect">
            <a:avLst/>
          </a:prstGeom>
        </p:spPr>
      </p:pic>
      <p:sp>
        <p:nvSpPr>
          <p:cNvPr id="83" name="Rectangle 82"/>
          <p:cNvSpPr/>
          <p:nvPr/>
        </p:nvSpPr>
        <p:spPr>
          <a:xfrm>
            <a:off x="3366800" y="5095524"/>
            <a:ext cx="5592274" cy="269875"/>
          </a:xfrm>
          <a:prstGeom prst="rect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5.5 Programmation Lunch and </a:t>
            </a:r>
            <a:r>
              <a:rPr lang="fr-CA" sz="800" b="1" dirty="0" err="1" smtClean="0">
                <a:solidFill>
                  <a:schemeClr val="tx1"/>
                </a:solidFill>
              </a:rPr>
              <a:t>Learn</a:t>
            </a:r>
            <a:r>
              <a:rPr lang="fr-CA" sz="800" b="1" dirty="0" smtClean="0">
                <a:solidFill>
                  <a:schemeClr val="tx1"/>
                </a:solidFill>
              </a:rPr>
              <a:t> mensuels </a:t>
            </a:r>
            <a:endParaRPr lang="fr-CA" sz="800" b="1" dirty="0">
              <a:solidFill>
                <a:schemeClr val="tx1"/>
              </a:solidFill>
            </a:endParaRPr>
          </a:p>
        </p:txBody>
      </p:sp>
      <p:pic>
        <p:nvPicPr>
          <p:cNvPr id="84" name="Image 8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5255" y="5370880"/>
            <a:ext cx="348207" cy="397950"/>
          </a:xfrm>
          <a:prstGeom prst="rect">
            <a:avLst/>
          </a:prstGeom>
        </p:spPr>
      </p:pic>
      <p:sp>
        <p:nvSpPr>
          <p:cNvPr id="85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8759402" y="6481976"/>
            <a:ext cx="596832" cy="35571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B061F56E-6CA4-4D69-B54A-0815C0CAC121}" type="slidenum">
              <a:rPr lang="fr-CA" sz="1400" smtClean="0"/>
              <a:pPr>
                <a:defRPr/>
              </a:pPr>
              <a:t>5</a:t>
            </a:fld>
            <a:endParaRPr lang="fr-CA" sz="1400" dirty="0"/>
          </a:p>
        </p:txBody>
      </p:sp>
      <p:sp>
        <p:nvSpPr>
          <p:cNvPr id="57" name="Rectangle 56"/>
          <p:cNvSpPr/>
          <p:nvPr/>
        </p:nvSpPr>
        <p:spPr>
          <a:xfrm>
            <a:off x="4106875" y="4096982"/>
            <a:ext cx="1729788" cy="215255"/>
          </a:xfrm>
          <a:prstGeom prst="rect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5.2.1 Profil </a:t>
            </a:r>
            <a:r>
              <a:rPr lang="fr-CA" sz="800" b="1" dirty="0">
                <a:solidFill>
                  <a:schemeClr val="tx1"/>
                </a:solidFill>
              </a:rPr>
              <a:t>de </a:t>
            </a:r>
            <a:r>
              <a:rPr lang="fr-CA" sz="800" b="1" dirty="0" smtClean="0">
                <a:solidFill>
                  <a:schemeClr val="tx1"/>
                </a:solidFill>
              </a:rPr>
              <a:t>compétences AA</a:t>
            </a:r>
            <a:endParaRPr lang="fr-CA" sz="800" b="1" dirty="0">
              <a:solidFill>
                <a:schemeClr val="tx1"/>
              </a:solidFill>
            </a:endParaRPr>
          </a:p>
        </p:txBody>
      </p:sp>
      <p:pic>
        <p:nvPicPr>
          <p:cNvPr id="24581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6550" y="1649524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Image 5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6309" y="3976129"/>
            <a:ext cx="348207" cy="397950"/>
          </a:xfrm>
          <a:prstGeom prst="rect">
            <a:avLst/>
          </a:prstGeom>
        </p:spPr>
      </p:pic>
      <p:pic>
        <p:nvPicPr>
          <p:cNvPr id="64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4183" y="4312237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Rectangle 67"/>
          <p:cNvSpPr/>
          <p:nvPr/>
        </p:nvSpPr>
        <p:spPr>
          <a:xfrm>
            <a:off x="7220196" y="4397829"/>
            <a:ext cx="1738878" cy="268054"/>
          </a:xfrm>
          <a:prstGeom prst="rect">
            <a:avLst/>
          </a:prstGeom>
          <a:solidFill>
            <a:srgbClr val="FFC00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fr-CA" sz="800" b="1" dirty="0" smtClean="0">
                <a:solidFill>
                  <a:schemeClr val="tx1"/>
                </a:solidFill>
              </a:rPr>
              <a:t>5.2.3 Inventaire du bassin</a:t>
            </a:r>
            <a:endParaRPr lang="fr-CA" sz="800" b="1" dirty="0">
              <a:solidFill>
                <a:schemeClr val="tx1"/>
              </a:solidFill>
            </a:endParaRPr>
          </a:p>
        </p:txBody>
      </p:sp>
      <p:pic>
        <p:nvPicPr>
          <p:cNvPr id="71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406" y="3423505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450" y="5076295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1450" y="5418417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0381" y="1984283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Image 8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556" y="5984551"/>
            <a:ext cx="348207" cy="397950"/>
          </a:xfrm>
          <a:prstGeom prst="rect">
            <a:avLst/>
          </a:prstGeom>
        </p:spPr>
      </p:pic>
      <p:sp>
        <p:nvSpPr>
          <p:cNvPr id="7" name="ZoneTexte 6"/>
          <p:cNvSpPr txBox="1"/>
          <p:nvPr/>
        </p:nvSpPr>
        <p:spPr>
          <a:xfrm>
            <a:off x="5724251" y="6039744"/>
            <a:ext cx="1854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: Complétée</a:t>
            </a:r>
            <a:endParaRPr lang="fr-CA" sz="1400" dirty="0"/>
          </a:p>
        </p:txBody>
      </p:sp>
      <p:pic>
        <p:nvPicPr>
          <p:cNvPr id="90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3678" y="6476190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1" name="ZoneTexte 90"/>
          <p:cNvSpPr txBox="1"/>
          <p:nvPr/>
        </p:nvSpPr>
        <p:spPr>
          <a:xfrm>
            <a:off x="5747581" y="6449800"/>
            <a:ext cx="1854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400" dirty="0" smtClean="0"/>
              <a:t>: En cours</a:t>
            </a:r>
            <a:endParaRPr lang="fr-CA" sz="1400" dirty="0"/>
          </a:p>
        </p:txBody>
      </p:sp>
      <p:pic>
        <p:nvPicPr>
          <p:cNvPr id="92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0828" y="2690937"/>
            <a:ext cx="348805" cy="321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5" descr="http://www.epave-enlevement.fr.sitew.com/fs/Root/49xh9-engrenage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7397" y="3039872"/>
            <a:ext cx="370388" cy="34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6202442"/>
      </p:ext>
    </p:extLst>
  </p:cSld>
  <p:clrMapOvr>
    <a:masterClrMapping/>
  </p:clrMapOvr>
  <p:transition>
    <p:randomBar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3"/>
          <p:cNvSpPr txBox="1">
            <a:spLocks/>
          </p:cNvSpPr>
          <p:nvPr/>
        </p:nvSpPr>
        <p:spPr bwMode="auto">
          <a:xfrm>
            <a:off x="131909" y="11327"/>
            <a:ext cx="8824765" cy="51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400" b="1" dirty="0" smtClean="0">
                <a:solidFill>
                  <a:schemeClr val="bg1"/>
                </a:solidFill>
                <a:latin typeface="Calibri" pitchFamily="34" charset="0"/>
              </a:rPr>
              <a:t>Atteindre une vision stratégie en 3 ans </a:t>
            </a:r>
            <a:endParaRPr lang="fr-CA" altLang="fr-FR" sz="2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8275706" y="6505574"/>
            <a:ext cx="596832" cy="355717"/>
          </a:xfrm>
        </p:spPr>
        <p:txBody>
          <a:bodyPr/>
          <a:lstStyle/>
          <a:p>
            <a:pPr>
              <a:defRPr/>
            </a:pPr>
            <a:fld id="{C713B270-3779-476F-BF55-16F367D2169C}" type="slidenum">
              <a:rPr lang="fr-CA" smtClean="0"/>
              <a:pPr>
                <a:defRPr/>
              </a:pPr>
              <a:t>6</a:t>
            </a:fld>
            <a:endParaRPr lang="fr-CA" dirty="0"/>
          </a:p>
        </p:txBody>
      </p:sp>
      <p:sp>
        <p:nvSpPr>
          <p:cNvPr id="7" name="Rectangle à coins arrondis 6"/>
          <p:cNvSpPr/>
          <p:nvPr/>
        </p:nvSpPr>
        <p:spPr>
          <a:xfrm>
            <a:off x="1751013" y="1668463"/>
            <a:ext cx="7196137" cy="96837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 sz="1600"/>
          </a:p>
        </p:txBody>
      </p:sp>
      <p:sp>
        <p:nvSpPr>
          <p:cNvPr id="8" name="Rectangle à coins arrondis 7"/>
          <p:cNvSpPr/>
          <p:nvPr/>
        </p:nvSpPr>
        <p:spPr>
          <a:xfrm>
            <a:off x="1757363" y="4830763"/>
            <a:ext cx="7199312" cy="65087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 sz="1600"/>
          </a:p>
        </p:txBody>
      </p:sp>
      <p:sp>
        <p:nvSpPr>
          <p:cNvPr id="9" name="Rectangle à coins arrondis 8"/>
          <p:cNvSpPr/>
          <p:nvPr/>
        </p:nvSpPr>
        <p:spPr>
          <a:xfrm>
            <a:off x="1760538" y="5535613"/>
            <a:ext cx="7196137" cy="652462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 sz="1600"/>
          </a:p>
        </p:txBody>
      </p:sp>
      <p:sp>
        <p:nvSpPr>
          <p:cNvPr id="10" name="Rectangle à coins arrondis 9"/>
          <p:cNvSpPr/>
          <p:nvPr/>
        </p:nvSpPr>
        <p:spPr>
          <a:xfrm>
            <a:off x="1762125" y="4322763"/>
            <a:ext cx="7194550" cy="43815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 sz="1600"/>
          </a:p>
        </p:txBody>
      </p:sp>
      <p:sp>
        <p:nvSpPr>
          <p:cNvPr id="11" name="Rectangle à coins arrondis 10"/>
          <p:cNvSpPr/>
          <p:nvPr/>
        </p:nvSpPr>
        <p:spPr>
          <a:xfrm>
            <a:off x="1760538" y="3821113"/>
            <a:ext cx="7196137" cy="45243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 sz="1600"/>
          </a:p>
        </p:txBody>
      </p:sp>
      <p:sp>
        <p:nvSpPr>
          <p:cNvPr id="12" name="Rectangle à coins arrondis 11"/>
          <p:cNvSpPr/>
          <p:nvPr/>
        </p:nvSpPr>
        <p:spPr>
          <a:xfrm>
            <a:off x="1762125" y="3313113"/>
            <a:ext cx="7175500" cy="45402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 sz="1600"/>
          </a:p>
        </p:txBody>
      </p:sp>
      <p:sp>
        <p:nvSpPr>
          <p:cNvPr id="13" name="Rectangle à coins arrondis 12"/>
          <p:cNvSpPr/>
          <p:nvPr/>
        </p:nvSpPr>
        <p:spPr>
          <a:xfrm>
            <a:off x="1760538" y="2814638"/>
            <a:ext cx="7196137" cy="45243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 sz="1600"/>
          </a:p>
        </p:txBody>
      </p:sp>
      <p:sp>
        <p:nvSpPr>
          <p:cNvPr id="14" name="Flèche droite 13"/>
          <p:cNvSpPr/>
          <p:nvPr/>
        </p:nvSpPr>
        <p:spPr>
          <a:xfrm>
            <a:off x="5688819" y="974676"/>
            <a:ext cx="3100339" cy="723329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accent1">
                <a:shade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400" b="1" dirty="0">
                <a:solidFill>
                  <a:schemeClr val="tx1"/>
                </a:solidFill>
              </a:rPr>
              <a:t>          </a:t>
            </a:r>
            <a:r>
              <a:rPr lang="fr-CA" sz="1400" b="1" dirty="0" smtClean="0">
                <a:solidFill>
                  <a:schemeClr val="tx1"/>
                </a:solidFill>
              </a:rPr>
              <a:t>          Années 2017….</a:t>
            </a:r>
            <a:endParaRPr lang="fr-CA" sz="1400" b="1" dirty="0">
              <a:solidFill>
                <a:schemeClr val="tx1"/>
              </a:solidFill>
            </a:endParaRPr>
          </a:p>
        </p:txBody>
      </p:sp>
      <p:sp>
        <p:nvSpPr>
          <p:cNvPr id="16" name="Flèche droite 15"/>
          <p:cNvSpPr/>
          <p:nvPr/>
        </p:nvSpPr>
        <p:spPr>
          <a:xfrm>
            <a:off x="3707619" y="982638"/>
            <a:ext cx="3007080" cy="723329"/>
          </a:xfrm>
          <a:prstGeom prst="rightArrow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accent1">
                <a:shade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400" b="1" dirty="0">
                <a:solidFill>
                  <a:schemeClr val="tx1"/>
                </a:solidFill>
              </a:rPr>
              <a:t>       </a:t>
            </a:r>
            <a:r>
              <a:rPr lang="fr-CA" sz="1400" b="1" dirty="0" smtClean="0">
                <a:solidFill>
                  <a:schemeClr val="tx1"/>
                </a:solidFill>
              </a:rPr>
              <a:t>Années 2015-2016</a:t>
            </a:r>
            <a:endParaRPr lang="fr-CA" sz="1400" b="1" dirty="0">
              <a:solidFill>
                <a:schemeClr val="tx1"/>
              </a:solidFill>
            </a:endParaRPr>
          </a:p>
        </p:txBody>
      </p:sp>
      <p:sp>
        <p:nvSpPr>
          <p:cNvPr id="17" name="Rectangle à coins arrondis 16"/>
          <p:cNvSpPr/>
          <p:nvPr/>
        </p:nvSpPr>
        <p:spPr>
          <a:xfrm>
            <a:off x="637953" y="2824827"/>
            <a:ext cx="1071786" cy="45360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Processus</a:t>
            </a:r>
          </a:p>
        </p:txBody>
      </p:sp>
      <p:sp>
        <p:nvSpPr>
          <p:cNvPr id="19" name="Rectangle à coins arrondis 18"/>
          <p:cNvSpPr/>
          <p:nvPr/>
        </p:nvSpPr>
        <p:spPr>
          <a:xfrm>
            <a:off x="637952" y="3302695"/>
            <a:ext cx="1071786" cy="453600"/>
          </a:xfrm>
          <a:prstGeom prst="round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Pratique et techniques</a:t>
            </a:r>
          </a:p>
        </p:txBody>
      </p:sp>
      <p:sp>
        <p:nvSpPr>
          <p:cNvPr id="20" name="Rectangle à coins arrondis 19"/>
          <p:cNvSpPr/>
          <p:nvPr/>
        </p:nvSpPr>
        <p:spPr>
          <a:xfrm>
            <a:off x="637437" y="3796476"/>
            <a:ext cx="1071786" cy="453600"/>
          </a:xfrm>
          <a:prstGeom prst="round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Livrables et gabarits</a:t>
            </a:r>
          </a:p>
        </p:txBody>
      </p:sp>
      <p:sp>
        <p:nvSpPr>
          <p:cNvPr id="21" name="Rectangle à coins arrondis 20"/>
          <p:cNvSpPr/>
          <p:nvPr/>
        </p:nvSpPr>
        <p:spPr>
          <a:xfrm>
            <a:off x="637950" y="4306953"/>
            <a:ext cx="1071786" cy="453600"/>
          </a:xfrm>
          <a:prstGeom prst="round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Technologie</a:t>
            </a:r>
          </a:p>
        </p:txBody>
      </p:sp>
      <p:sp>
        <p:nvSpPr>
          <p:cNvPr id="22" name="Rectangle à coins arrondis 21"/>
          <p:cNvSpPr/>
          <p:nvPr/>
        </p:nvSpPr>
        <p:spPr>
          <a:xfrm>
            <a:off x="333673" y="5538930"/>
            <a:ext cx="1395019" cy="651600"/>
          </a:xfrm>
          <a:prstGeom prst="round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Organisation</a:t>
            </a:r>
          </a:p>
        </p:txBody>
      </p:sp>
      <p:sp>
        <p:nvSpPr>
          <p:cNvPr id="23" name="Rectangle à coins arrondis 22"/>
          <p:cNvSpPr/>
          <p:nvPr/>
        </p:nvSpPr>
        <p:spPr>
          <a:xfrm>
            <a:off x="333673" y="4838789"/>
            <a:ext cx="1385942" cy="651600"/>
          </a:xfrm>
          <a:prstGeom prst="roundRect">
            <a:avLst/>
          </a:prstGeom>
          <a:solidFill>
            <a:schemeClr val="accent3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Compétences /Connaissances </a:t>
            </a:r>
          </a:p>
        </p:txBody>
      </p:sp>
      <p:sp>
        <p:nvSpPr>
          <p:cNvPr id="24" name="Flèche droite 23"/>
          <p:cNvSpPr/>
          <p:nvPr/>
        </p:nvSpPr>
        <p:spPr>
          <a:xfrm>
            <a:off x="1797050" y="982638"/>
            <a:ext cx="2611179" cy="723329"/>
          </a:xfrm>
          <a:prstGeom prst="rightArrow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shade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400" b="1" dirty="0">
                <a:solidFill>
                  <a:schemeClr val="tx1"/>
                </a:solidFill>
              </a:rPr>
              <a:t>Année </a:t>
            </a:r>
            <a:r>
              <a:rPr lang="fr-CA" sz="1400" b="1" dirty="0" smtClean="0">
                <a:solidFill>
                  <a:schemeClr val="tx1"/>
                </a:solidFill>
              </a:rPr>
              <a:t>2014 </a:t>
            </a:r>
            <a:endParaRPr lang="fr-CA" sz="1400" b="1" dirty="0">
              <a:solidFill>
                <a:schemeClr val="tx1"/>
              </a:solidFill>
            </a:endParaRPr>
          </a:p>
        </p:txBody>
      </p:sp>
      <p:cxnSp>
        <p:nvCxnSpPr>
          <p:cNvPr id="25" name="Connecteur droit 24"/>
          <p:cNvCxnSpPr/>
          <p:nvPr/>
        </p:nvCxnSpPr>
        <p:spPr>
          <a:xfrm>
            <a:off x="4230688" y="1541463"/>
            <a:ext cx="79375" cy="4646612"/>
          </a:xfrm>
          <a:prstGeom prst="line">
            <a:avLst/>
          </a:prstGeom>
          <a:ln w="158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droit 25"/>
          <p:cNvCxnSpPr/>
          <p:nvPr/>
        </p:nvCxnSpPr>
        <p:spPr>
          <a:xfrm>
            <a:off x="6551613" y="1541463"/>
            <a:ext cx="76200" cy="4646612"/>
          </a:xfrm>
          <a:prstGeom prst="line">
            <a:avLst/>
          </a:prstGeom>
          <a:ln w="158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ZoneTexte 13"/>
          <p:cNvSpPr txBox="1">
            <a:spLocks noChangeArrowheads="1"/>
          </p:cNvSpPr>
          <p:nvPr/>
        </p:nvSpPr>
        <p:spPr bwMode="auto">
          <a:xfrm>
            <a:off x="1797050" y="2836863"/>
            <a:ext cx="241617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Documenter</a:t>
            </a: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es activités du métier. </a:t>
            </a:r>
            <a:endParaRPr lang="fr-CA" altLang="fr-FR" sz="1000" dirty="0" smtClean="0">
              <a:solidFill>
                <a:schemeClr val="tx1"/>
              </a:solidFill>
              <a:cs typeface="MS PGothic"/>
            </a:endParaRPr>
          </a:p>
        </p:txBody>
      </p:sp>
      <p:sp>
        <p:nvSpPr>
          <p:cNvPr id="28" name="ZoneTexte 48"/>
          <p:cNvSpPr txBox="1">
            <a:spLocks noChangeArrowheads="1"/>
          </p:cNvSpPr>
          <p:nvPr/>
        </p:nvSpPr>
        <p:spPr bwMode="auto">
          <a:xfrm>
            <a:off x="1781175" y="3348038"/>
            <a:ext cx="2347913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Créer</a:t>
            </a: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une boîte à outils de pratiques et techniques.</a:t>
            </a:r>
          </a:p>
        </p:txBody>
      </p:sp>
      <p:sp>
        <p:nvSpPr>
          <p:cNvPr id="29" name="ZoneTexte 49"/>
          <p:cNvSpPr txBox="1">
            <a:spLocks noChangeArrowheads="1"/>
          </p:cNvSpPr>
          <p:nvPr/>
        </p:nvSpPr>
        <p:spPr bwMode="auto">
          <a:xfrm>
            <a:off x="4230688" y="2798763"/>
            <a:ext cx="2320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M</a:t>
            </a: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esur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’intégration des activités du métier en projet</a:t>
            </a:r>
          </a:p>
        </p:txBody>
      </p:sp>
      <p:sp>
        <p:nvSpPr>
          <p:cNvPr id="30" name="ZoneTexte 50"/>
          <p:cNvSpPr txBox="1">
            <a:spLocks noChangeArrowheads="1"/>
          </p:cNvSpPr>
          <p:nvPr/>
        </p:nvSpPr>
        <p:spPr bwMode="auto">
          <a:xfrm>
            <a:off x="6551613" y="2789238"/>
            <a:ext cx="240506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mélior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 processus et </a:t>
            </a: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ligner</a:t>
            </a: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avec la stratégie d’entreprise.</a:t>
            </a:r>
          </a:p>
        </p:txBody>
      </p:sp>
      <p:sp>
        <p:nvSpPr>
          <p:cNvPr id="31" name="ZoneTexte 51"/>
          <p:cNvSpPr txBox="1">
            <a:spLocks noChangeArrowheads="1"/>
          </p:cNvSpPr>
          <p:nvPr/>
        </p:nvSpPr>
        <p:spPr bwMode="auto">
          <a:xfrm>
            <a:off x="4244975" y="3322638"/>
            <a:ext cx="23463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Mettre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en place la gouvernance pour évoluer la boîte à outils</a:t>
            </a:r>
          </a:p>
        </p:txBody>
      </p:sp>
      <p:sp>
        <p:nvSpPr>
          <p:cNvPr id="32" name="ZoneTexte 52"/>
          <p:cNvSpPr txBox="1">
            <a:spLocks noChangeArrowheads="1"/>
          </p:cNvSpPr>
          <p:nvPr/>
        </p:nvSpPr>
        <p:spPr bwMode="auto">
          <a:xfrm>
            <a:off x="6551613" y="3336925"/>
            <a:ext cx="23463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mélior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es pratiques et techniques existantes.</a:t>
            </a:r>
          </a:p>
        </p:txBody>
      </p:sp>
      <p:sp>
        <p:nvSpPr>
          <p:cNvPr id="33" name="ZoneTexte 53"/>
          <p:cNvSpPr txBox="1">
            <a:spLocks noChangeArrowheads="1"/>
          </p:cNvSpPr>
          <p:nvPr/>
        </p:nvSpPr>
        <p:spPr bwMode="auto">
          <a:xfrm>
            <a:off x="1822450" y="3833813"/>
            <a:ext cx="2449513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 typeface="Wingdings" pitchFamily="2" charset="2"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Défini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des standards de qualité et </a:t>
            </a: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dapt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s gabarits existants.</a:t>
            </a:r>
          </a:p>
        </p:txBody>
      </p:sp>
      <p:sp>
        <p:nvSpPr>
          <p:cNvPr id="34" name="ZoneTexte 54"/>
          <p:cNvSpPr txBox="1">
            <a:spLocks noChangeArrowheads="1"/>
          </p:cNvSpPr>
          <p:nvPr/>
        </p:nvSpPr>
        <p:spPr bwMode="auto">
          <a:xfrm>
            <a:off x="4284663" y="3829050"/>
            <a:ext cx="2403475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Déployer</a:t>
            </a: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e programme qualité des livrables de chaque métier.</a:t>
            </a:r>
          </a:p>
        </p:txBody>
      </p:sp>
      <p:sp>
        <p:nvSpPr>
          <p:cNvPr id="35" name="ZoneTexte 60"/>
          <p:cNvSpPr txBox="1">
            <a:spLocks noChangeArrowheads="1"/>
          </p:cNvSpPr>
          <p:nvPr/>
        </p:nvSpPr>
        <p:spPr bwMode="auto">
          <a:xfrm>
            <a:off x="6591300" y="3833813"/>
            <a:ext cx="2306638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Suivre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systématiquement la qualité des livrables. </a:t>
            </a:r>
          </a:p>
        </p:txBody>
      </p:sp>
      <p:sp>
        <p:nvSpPr>
          <p:cNvPr id="36" name="ZoneTexte 24"/>
          <p:cNvSpPr txBox="1">
            <a:spLocks noChangeArrowheads="1"/>
          </p:cNvSpPr>
          <p:nvPr/>
        </p:nvSpPr>
        <p:spPr bwMode="auto">
          <a:xfrm>
            <a:off x="1477963" y="696913"/>
            <a:ext cx="27273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1200" b="1"/>
              <a:t>DÉFINIR / HABILITER / PILOTER</a:t>
            </a:r>
          </a:p>
        </p:txBody>
      </p:sp>
      <p:sp>
        <p:nvSpPr>
          <p:cNvPr id="37" name="ZoneTexte 62"/>
          <p:cNvSpPr txBox="1">
            <a:spLocks noChangeArrowheads="1"/>
          </p:cNvSpPr>
          <p:nvPr/>
        </p:nvSpPr>
        <p:spPr bwMode="auto">
          <a:xfrm>
            <a:off x="4256120" y="682624"/>
            <a:ext cx="48450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1200" b="1" dirty="0" smtClean="0"/>
              <a:t>APPLIQUER </a:t>
            </a:r>
            <a:r>
              <a:rPr lang="fr-CA" altLang="fr-FR" sz="1200" b="1" dirty="0"/>
              <a:t>/ MESURER </a:t>
            </a:r>
            <a:r>
              <a:rPr lang="fr-CA" altLang="fr-FR" sz="1200" b="1" dirty="0" smtClean="0"/>
              <a:t>             AMÉLIORER </a:t>
            </a:r>
            <a:r>
              <a:rPr lang="fr-CA" altLang="fr-FR" sz="1200" b="1" dirty="0"/>
              <a:t>/ RENFORCER </a:t>
            </a:r>
          </a:p>
        </p:txBody>
      </p:sp>
      <p:sp>
        <p:nvSpPr>
          <p:cNvPr id="38" name="ZoneTexte 63"/>
          <p:cNvSpPr txBox="1">
            <a:spLocks noChangeArrowheads="1"/>
          </p:cNvSpPr>
          <p:nvPr/>
        </p:nvSpPr>
        <p:spPr bwMode="auto">
          <a:xfrm>
            <a:off x="1762125" y="4316413"/>
            <a:ext cx="2509838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Identifi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et </a:t>
            </a: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nalyser</a:t>
            </a: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es outils requis pour supporter le métier.</a:t>
            </a:r>
          </a:p>
        </p:txBody>
      </p:sp>
      <p:sp>
        <p:nvSpPr>
          <p:cNvPr id="39" name="ZoneTexte 64"/>
          <p:cNvSpPr txBox="1">
            <a:spLocks noChangeArrowheads="1"/>
          </p:cNvSpPr>
          <p:nvPr/>
        </p:nvSpPr>
        <p:spPr bwMode="auto">
          <a:xfrm>
            <a:off x="4271963" y="4302125"/>
            <a:ext cx="238760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Intégrer</a:t>
            </a: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des outils dans la réalisation des projets. </a:t>
            </a:r>
          </a:p>
        </p:txBody>
      </p:sp>
      <p:sp>
        <p:nvSpPr>
          <p:cNvPr id="40" name="ZoneTexte 67"/>
          <p:cNvSpPr txBox="1">
            <a:spLocks noChangeArrowheads="1"/>
          </p:cNvSpPr>
          <p:nvPr/>
        </p:nvSpPr>
        <p:spPr bwMode="auto">
          <a:xfrm>
            <a:off x="6548438" y="4294188"/>
            <a:ext cx="2509837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mélior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 processus et </a:t>
            </a: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ligner</a:t>
            </a:r>
            <a:r>
              <a:rPr lang="fr-CA" altLang="fr-FR" sz="1100" b="1" dirty="0" smtClean="0">
                <a:solidFill>
                  <a:schemeClr val="tx1"/>
                </a:solidFill>
                <a:cs typeface="MS PGothic"/>
              </a:rPr>
              <a:t>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avec la stratégie d’entreprise.</a:t>
            </a:r>
            <a:endParaRPr lang="fr-CA" altLang="fr-FR" sz="1100" dirty="0">
              <a:solidFill>
                <a:schemeClr val="tx1"/>
              </a:solidFill>
              <a:cs typeface="MS PGothic"/>
            </a:endParaRPr>
          </a:p>
        </p:txBody>
      </p:sp>
      <p:sp>
        <p:nvSpPr>
          <p:cNvPr id="41" name="ZoneTexte 69"/>
          <p:cNvSpPr txBox="1">
            <a:spLocks noChangeArrowheads="1"/>
          </p:cNvSpPr>
          <p:nvPr/>
        </p:nvSpPr>
        <p:spPr bwMode="auto">
          <a:xfrm>
            <a:off x="1760538" y="5554663"/>
            <a:ext cx="2509837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Sensibilis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et informer les partie-prenantes sur le métier.</a:t>
            </a: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Défini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s stratégies de soutien</a:t>
            </a:r>
          </a:p>
        </p:txBody>
      </p:sp>
      <p:sp>
        <p:nvSpPr>
          <p:cNvPr id="42" name="ZoneTexte 70"/>
          <p:cNvSpPr txBox="1">
            <a:spLocks noChangeArrowheads="1"/>
          </p:cNvSpPr>
          <p:nvPr/>
        </p:nvSpPr>
        <p:spPr bwMode="auto">
          <a:xfrm>
            <a:off x="4310063" y="5526088"/>
            <a:ext cx="2347912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Support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s employés dans l’application du métier en pratique et </a:t>
            </a: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mesur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 taux d’adhésion.</a:t>
            </a:r>
          </a:p>
        </p:txBody>
      </p:sp>
      <p:sp>
        <p:nvSpPr>
          <p:cNvPr id="43" name="ZoneTexte 71"/>
          <p:cNvSpPr txBox="1">
            <a:spLocks noChangeArrowheads="1"/>
          </p:cNvSpPr>
          <p:nvPr/>
        </p:nvSpPr>
        <p:spPr bwMode="auto">
          <a:xfrm>
            <a:off x="6589713" y="5532438"/>
            <a:ext cx="2347912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Complét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’intégration du métier au niveau entreprise.</a:t>
            </a:r>
          </a:p>
        </p:txBody>
      </p:sp>
      <p:sp>
        <p:nvSpPr>
          <p:cNvPr id="44" name="ZoneTexte 73"/>
          <p:cNvSpPr txBox="1">
            <a:spLocks noChangeArrowheads="1"/>
          </p:cNvSpPr>
          <p:nvPr/>
        </p:nvSpPr>
        <p:spPr bwMode="auto">
          <a:xfrm>
            <a:off x="1709738" y="4868863"/>
            <a:ext cx="26543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Défini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 profil de compétences  &amp; connaissances du métier </a:t>
            </a: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Défini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un cursus de développement</a:t>
            </a:r>
          </a:p>
        </p:txBody>
      </p:sp>
      <p:sp>
        <p:nvSpPr>
          <p:cNvPr id="45" name="ZoneTexte 74"/>
          <p:cNvSpPr txBox="1">
            <a:spLocks noChangeArrowheads="1"/>
          </p:cNvSpPr>
          <p:nvPr/>
        </p:nvSpPr>
        <p:spPr bwMode="auto">
          <a:xfrm>
            <a:off x="4256088" y="4870450"/>
            <a:ext cx="2454275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Planifi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e développement collectif et individuel (Formation, Coaching, mentorat, </a:t>
            </a:r>
            <a:r>
              <a:rPr lang="fr-CA" altLang="fr-FR" sz="1100" dirty="0" err="1" smtClean="0">
                <a:solidFill>
                  <a:schemeClr val="tx1"/>
                </a:solidFill>
                <a:cs typeface="MS PGothic"/>
              </a:rPr>
              <a:t>etc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)</a:t>
            </a: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endParaRPr lang="fr-CA" altLang="fr-FR" sz="1100" dirty="0" smtClean="0">
              <a:solidFill>
                <a:schemeClr val="tx1"/>
              </a:solidFill>
              <a:cs typeface="MS PGothic"/>
            </a:endParaRPr>
          </a:p>
        </p:txBody>
      </p:sp>
      <p:sp>
        <p:nvSpPr>
          <p:cNvPr id="46" name="ZoneTexte 76"/>
          <p:cNvSpPr txBox="1">
            <a:spLocks noChangeArrowheads="1"/>
          </p:cNvSpPr>
          <p:nvPr/>
        </p:nvSpPr>
        <p:spPr bwMode="auto">
          <a:xfrm>
            <a:off x="6577013" y="4881563"/>
            <a:ext cx="2449512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Renforc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a culture d’organisation apprenante (Formation, Coaching, mentorat, </a:t>
            </a:r>
            <a:r>
              <a:rPr lang="fr-CA" altLang="fr-FR" sz="1100" dirty="0" err="1" smtClean="0">
                <a:solidFill>
                  <a:schemeClr val="tx1"/>
                </a:solidFill>
                <a:cs typeface="MS PGothic"/>
              </a:rPr>
              <a:t>etc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)</a:t>
            </a:r>
          </a:p>
        </p:txBody>
      </p:sp>
      <p:cxnSp>
        <p:nvCxnSpPr>
          <p:cNvPr id="47" name="Connecteur droit 46"/>
          <p:cNvCxnSpPr/>
          <p:nvPr/>
        </p:nvCxnSpPr>
        <p:spPr>
          <a:xfrm flipV="1">
            <a:off x="4224338" y="623888"/>
            <a:ext cx="0" cy="48895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à coins arrondis 47"/>
          <p:cNvSpPr/>
          <p:nvPr/>
        </p:nvSpPr>
        <p:spPr>
          <a:xfrm rot="16200000">
            <a:off x="-508368" y="3657279"/>
            <a:ext cx="1945316" cy="261231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100" b="1" dirty="0">
                <a:solidFill>
                  <a:schemeClr val="tx1"/>
                </a:solidFill>
              </a:rPr>
              <a:t>Méthodologie</a:t>
            </a:r>
          </a:p>
        </p:txBody>
      </p:sp>
      <p:sp>
        <p:nvSpPr>
          <p:cNvPr id="49" name="Rectangle à coins arrondis 48"/>
          <p:cNvSpPr/>
          <p:nvPr/>
        </p:nvSpPr>
        <p:spPr>
          <a:xfrm>
            <a:off x="333673" y="1605261"/>
            <a:ext cx="1375550" cy="1031616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Modèle opérationnel </a:t>
            </a:r>
          </a:p>
          <a:p>
            <a:pPr algn="ctr">
              <a:defRPr/>
            </a:pPr>
            <a:r>
              <a:rPr lang="fr-CA" sz="1050" b="1" dirty="0">
                <a:solidFill>
                  <a:schemeClr val="tx1"/>
                </a:solidFill>
              </a:rPr>
              <a:t>Bout en Bout (SDLC)</a:t>
            </a:r>
          </a:p>
        </p:txBody>
      </p:sp>
      <p:sp>
        <p:nvSpPr>
          <p:cNvPr id="50" name="Rectangle 49"/>
          <p:cNvSpPr/>
          <p:nvPr/>
        </p:nvSpPr>
        <p:spPr>
          <a:xfrm>
            <a:off x="333375" y="2700338"/>
            <a:ext cx="8604250" cy="3651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CA"/>
          </a:p>
        </p:txBody>
      </p:sp>
      <p:sp>
        <p:nvSpPr>
          <p:cNvPr id="51" name="ZoneTexte 13"/>
          <p:cNvSpPr txBox="1">
            <a:spLocks noChangeArrowheads="1"/>
          </p:cNvSpPr>
          <p:nvPr/>
        </p:nvSpPr>
        <p:spPr bwMode="auto">
          <a:xfrm>
            <a:off x="1758950" y="1770063"/>
            <a:ext cx="2416175" cy="769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- Finalis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es processus cibles</a:t>
            </a:r>
          </a:p>
          <a:p>
            <a:pPr marL="85725" indent="-85725"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Char char="-"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nalys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et adresser les écarts organisationnels (Actuel vs Cible)</a:t>
            </a:r>
          </a:p>
          <a:p>
            <a:pPr marL="85725" indent="-85725"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Char char="-"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Pilot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e modèle opérationnel</a:t>
            </a:r>
            <a:endParaRPr lang="fr-CA" altLang="fr-FR" sz="1000" dirty="0" smtClean="0">
              <a:solidFill>
                <a:schemeClr val="tx1"/>
              </a:solidFill>
              <a:cs typeface="MS PGothic"/>
            </a:endParaRPr>
          </a:p>
        </p:txBody>
      </p:sp>
      <p:sp>
        <p:nvSpPr>
          <p:cNvPr id="52" name="ZoneTexte 13"/>
          <p:cNvSpPr txBox="1">
            <a:spLocks noChangeArrowheads="1"/>
          </p:cNvSpPr>
          <p:nvPr/>
        </p:nvSpPr>
        <p:spPr bwMode="auto">
          <a:xfrm>
            <a:off x="4198938" y="1770063"/>
            <a:ext cx="241617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marL="85725" indent="-85725"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Char char="-"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Mesure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’intégration global du modèle en pratique</a:t>
            </a:r>
          </a:p>
          <a:p>
            <a:pPr marL="85725" indent="-85725"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Char char="-"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just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le modèle opérationnel</a:t>
            </a:r>
          </a:p>
        </p:txBody>
      </p:sp>
      <p:sp>
        <p:nvSpPr>
          <p:cNvPr id="53" name="ZoneTexte 52"/>
          <p:cNvSpPr txBox="1">
            <a:spLocks noChangeArrowheads="1"/>
          </p:cNvSpPr>
          <p:nvPr/>
        </p:nvSpPr>
        <p:spPr bwMode="auto">
          <a:xfrm>
            <a:off x="6599238" y="1778000"/>
            <a:ext cx="2405062" cy="768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95000"/>
              </a:lnSpc>
              <a:spcAft>
                <a:spcPct val="6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8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1pPr>
            <a:lvl2pPr marL="742950" indent="-285750" eaLnBrk="0" hangingPunct="0">
              <a:lnSpc>
                <a:spcPct val="95000"/>
              </a:lnSpc>
              <a:spcAft>
                <a:spcPct val="50000"/>
              </a:spcAft>
              <a:buClr>
                <a:schemeClr val="tx2"/>
              </a:buClr>
              <a:buSzPct val="120000"/>
              <a:buChar char="•"/>
              <a:defRPr sz="26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2pPr>
            <a:lvl3pPr marL="1143000" indent="-228600" eaLnBrk="0" hangingPunct="0">
              <a:lnSpc>
                <a:spcPct val="95000"/>
              </a:lnSpc>
              <a:spcAft>
                <a:spcPct val="40000"/>
              </a:spcAft>
              <a:buClr>
                <a:schemeClr val="tx2"/>
              </a:buClr>
              <a:buSzPct val="120000"/>
              <a:buFont typeface="Arial" pitchFamily="34" charset="0"/>
              <a:buChar char="–"/>
              <a:defRPr sz="24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3pPr>
            <a:lvl4pPr marL="1600200" indent="-228600" eaLnBrk="0" hangingPunct="0">
              <a:lnSpc>
                <a:spcPct val="95000"/>
              </a:lnSpc>
              <a:spcAft>
                <a:spcPct val="30000"/>
              </a:spcAft>
              <a:buClr>
                <a:schemeClr val="tx2"/>
              </a:buClr>
              <a:buSzPct val="120000"/>
              <a:buFont typeface="Wingdings" pitchFamily="2" charset="2"/>
              <a:buChar char="§"/>
              <a:defRPr sz="22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4pPr>
            <a:lvl5pPr marL="2057400" indent="-228600" eaLnBrk="0" hangingPunct="0">
              <a:lnSpc>
                <a:spcPct val="95000"/>
              </a:lnSpc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Clr>
                <a:schemeClr val="tx2"/>
              </a:buClr>
              <a:buSzPct val="120000"/>
              <a:buChar char="•"/>
              <a:defRPr sz="2000">
                <a:solidFill>
                  <a:schemeClr val="accent2"/>
                </a:solidFill>
                <a:latin typeface="Arial" pitchFamily="34" charset="0"/>
                <a:ea typeface="MS PGothic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Améliorer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 et </a:t>
            </a:r>
            <a:r>
              <a:rPr lang="fr-CA" altLang="fr-FR" sz="1100" b="1" cap="small" dirty="0" smtClean="0">
                <a:solidFill>
                  <a:schemeClr val="tx1"/>
                </a:solidFill>
                <a:cs typeface="MS PGothic"/>
              </a:rPr>
              <a:t>maintenir </a:t>
            </a:r>
            <a:r>
              <a:rPr lang="fr-CA" altLang="fr-FR" sz="1100" dirty="0" smtClean="0">
                <a:solidFill>
                  <a:schemeClr val="tx1"/>
                </a:solidFill>
                <a:cs typeface="MS PGothic"/>
              </a:rPr>
              <a:t>l’alignement du modèle avec la stratégie d’entreprise.</a:t>
            </a:r>
          </a:p>
          <a:p>
            <a:pPr eaLnBrk="1" hangingPunct="1"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  <a:defRPr/>
            </a:pPr>
            <a:endParaRPr lang="fr-CA" altLang="fr-FR" sz="1100" dirty="0" smtClean="0">
              <a:solidFill>
                <a:schemeClr val="tx1"/>
              </a:solidFill>
              <a:cs typeface="MS PGothic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271963" y="623888"/>
            <a:ext cx="2355850" cy="5566642"/>
          </a:xfrm>
          <a:prstGeom prst="rect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33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3"/>
          <p:cNvSpPr txBox="1">
            <a:spLocks/>
          </p:cNvSpPr>
          <p:nvPr/>
        </p:nvSpPr>
        <p:spPr bwMode="auto">
          <a:xfrm>
            <a:off x="546580" y="-9939"/>
            <a:ext cx="8153400" cy="515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800" b="1" dirty="0" smtClean="0">
                <a:solidFill>
                  <a:schemeClr val="bg1"/>
                </a:solidFill>
                <a:latin typeface="Calibri" pitchFamily="34" charset="0"/>
              </a:rPr>
              <a:t>Les bénéfices tangibles</a:t>
            </a:r>
            <a:endParaRPr lang="fr-CA" altLang="fr-FR" sz="28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8275706" y="6505574"/>
            <a:ext cx="596832" cy="355717"/>
          </a:xfrm>
        </p:spPr>
        <p:txBody>
          <a:bodyPr/>
          <a:lstStyle/>
          <a:p>
            <a:pPr>
              <a:defRPr/>
            </a:pPr>
            <a:fld id="{C713B270-3779-476F-BF55-16F367D2169C}" type="slidenum">
              <a:rPr lang="fr-CA" smtClean="0"/>
              <a:pPr>
                <a:defRPr/>
              </a:pPr>
              <a:t>7</a:t>
            </a:fld>
            <a:endParaRPr lang="fr-CA" dirty="0"/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3579776"/>
              </p:ext>
            </p:extLst>
          </p:nvPr>
        </p:nvGraphicFramePr>
        <p:xfrm>
          <a:off x="546580" y="950421"/>
          <a:ext cx="8342239" cy="5097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89756"/>
                <a:gridCol w="5252483"/>
              </a:tblGrid>
              <a:tr h="325476">
                <a:tc>
                  <a:txBody>
                    <a:bodyPr/>
                    <a:lstStyle/>
                    <a:p>
                      <a:r>
                        <a:rPr lang="fr-CA" dirty="0" smtClean="0"/>
                        <a:t>Solu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A" dirty="0" smtClean="0"/>
                        <a:t>Bénéfices</a:t>
                      </a:r>
                      <a:endParaRPr lang="en-US" dirty="0"/>
                    </a:p>
                  </a:txBody>
                  <a:tcPr/>
                </a:tc>
              </a:tr>
              <a:tr h="97652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dirty="0" smtClean="0"/>
                        <a:t>Guide référentiel</a:t>
                      </a:r>
                      <a:r>
                        <a:rPr lang="fr-CA" sz="1400" b="1" baseline="0" dirty="0" smtClean="0"/>
                        <a:t> en support aux analystes d’affaires 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fr-CA" sz="500" b="1" baseline="0" dirty="0" smtClean="0"/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baseline="0" dirty="0" smtClean="0"/>
                        <a:t>Outil générique d’estimation des efforts</a:t>
                      </a:r>
                      <a:endParaRPr lang="en-US" sz="14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satisfaction</a:t>
                      </a:r>
                      <a:r>
                        <a:rPr lang="fr-FR" sz="14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des partenaires en projet (prévisibilité).</a:t>
                      </a:r>
                    </a:p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fr-FR" sz="10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 </a:t>
                      </a: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 temps d’intégration des nouveaux employés</a:t>
                      </a:r>
                      <a:r>
                        <a:rPr lang="fr-FR" sz="14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en-US" sz="10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</a:t>
                      </a: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du</a:t>
                      </a:r>
                      <a:r>
                        <a:rPr lang="fr-FR" sz="1400" b="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</a:t>
                      </a: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gré de précision dans les estimations pour les activités d’analyse d’affaires.</a:t>
                      </a:r>
                      <a:endParaRPr lang="en-US" sz="1400" b="0" dirty="0"/>
                    </a:p>
                  </a:txBody>
                  <a:tcPr anchor="ctr"/>
                </a:tc>
              </a:tr>
              <a:tr h="846481">
                <a:tc>
                  <a:txBody>
                    <a:bodyPr/>
                    <a:lstStyle/>
                    <a:p>
                      <a:pPr marL="285750" indent="-285750" algn="l" defTabSz="914051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ndardisation des gabarits d’analyse d’affaires en projet</a:t>
                      </a:r>
                      <a:endParaRPr lang="en-US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 duplication d’informations dans les livrables.</a:t>
                      </a:r>
                    </a:p>
                    <a:p>
                      <a:pPr marL="285750" marR="0" lvl="0" indent="-28575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Char char="î"/>
                        <a:tabLst/>
                        <a:defRPr/>
                      </a:pPr>
                      <a:endParaRPr lang="fr-FR" sz="105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/>
                      </a:endParaRPr>
                    </a:p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de la rigueur dans la gestion de la traçabilité des besoins et exigences.</a:t>
                      </a:r>
                      <a:endParaRPr lang="fr-FR" sz="140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71697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rte de visite 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fr-CA" sz="500" b="1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urnée promotionnelle </a:t>
                      </a:r>
                      <a:endParaRPr lang="en-US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fr-CA" sz="1400" b="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significative</a:t>
                      </a: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du </a:t>
                      </a:r>
                      <a:r>
                        <a:rPr lang="fr-CA" sz="1400" b="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niveau</a:t>
                      </a: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de </a:t>
                      </a:r>
                      <a:r>
                        <a:rPr lang="en-US" sz="14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compréhension</a:t>
                      </a: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du métier </a:t>
                      </a:r>
                      <a:r>
                        <a:rPr lang="fr-CA" sz="1400" b="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d’analyste</a:t>
                      </a: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</a:t>
                      </a:r>
                      <a:r>
                        <a:rPr lang="fr-CA" sz="1400" b="0" kern="1200" noProof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d’affaires</a:t>
                      </a: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au </a:t>
                      </a:r>
                      <a:r>
                        <a:rPr lang="en-US" sz="14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sein</a:t>
                      </a: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de </a:t>
                      </a:r>
                      <a:r>
                        <a:rPr lang="en-US" sz="1400" b="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l’organisation</a:t>
                      </a:r>
                      <a:r>
                        <a:rPr lang="en-US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.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71697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il de compétences et connaissances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fr-CA" sz="500" b="1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uto-évaluation </a:t>
                      </a:r>
                      <a:endParaRPr lang="en-US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</a:t>
                      </a: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équation entre les connaissances de l’employé et les besoins requis du projet lors de l'affectation.</a:t>
                      </a:r>
                    </a:p>
                    <a:p>
                      <a:pPr marL="0" marR="0" lvl="0" indent="0" algn="l" defTabSz="91405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endParaRPr lang="en-US" sz="105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>
                        <a:buFont typeface="Wingdings"/>
                        <a:buNone/>
                      </a:pP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</a:t>
                      </a: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u degré de précision dans l’identification des compétences et connaissances à développer.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71697">
                <a:tc>
                  <a:txBody>
                    <a:bodyPr/>
                    <a:lstStyle/>
                    <a:p>
                      <a:pPr marL="285750" indent="-285750" algn="l" defTabSz="914051" rtl="0" eaLnBrk="1" latinLnBrk="0" hangingPunct="1">
                        <a:buFont typeface="Wingdings" panose="05000000000000000000" pitchFamily="2" charset="2"/>
                        <a:buChar char="Ø"/>
                      </a:pPr>
                      <a:r>
                        <a:rPr lang="fr-CA" sz="14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utien dans la démarche de certification CBAP et PMI-PBA</a:t>
                      </a:r>
                      <a:endParaRPr lang="en-US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>
                        <a:buFont typeface="Wingdings"/>
                        <a:buNone/>
                      </a:pP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</a:t>
                      </a:r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isation vers une culture de performance.</a:t>
                      </a:r>
                    </a:p>
                    <a:p>
                      <a:pPr marL="285750" lvl="0" indent="-285750">
                        <a:buFont typeface="Wingdings"/>
                        <a:buChar char="ì"/>
                      </a:pPr>
                      <a:endParaRPr lang="en-US" sz="1050" b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fr-FR" sz="14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 Crédibilité du métier et des analystes d’affaires dans l’organisation.</a:t>
                      </a:r>
                      <a:endParaRPr lang="en-US" sz="14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3" name="Imag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2107" y="248769"/>
            <a:ext cx="1362935" cy="1504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2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/>
            <a:fld id="{1E5E35A5-4A59-4026-8088-926C0ADFE7EA}" type="slidenum">
              <a:rPr lang="fr-CA" altLang="fr-FR" smtClean="0">
                <a:solidFill>
                  <a:schemeClr val="accent1"/>
                </a:solidFill>
              </a:rPr>
              <a:pPr eaLnBrk="1" hangingPunct="1"/>
              <a:t>8</a:t>
            </a:fld>
            <a:endParaRPr lang="fr-CA" altLang="fr-FR" smtClean="0">
              <a:solidFill>
                <a:schemeClr val="accent1"/>
              </a:solidFill>
            </a:endParaRPr>
          </a:p>
        </p:txBody>
      </p:sp>
      <p:sp>
        <p:nvSpPr>
          <p:cNvPr id="10249" name="ZoneTexte 2"/>
          <p:cNvSpPr txBox="1">
            <a:spLocks noChangeArrowheads="1"/>
          </p:cNvSpPr>
          <p:nvPr/>
        </p:nvSpPr>
        <p:spPr bwMode="auto">
          <a:xfrm>
            <a:off x="381000" y="-23203"/>
            <a:ext cx="8872182" cy="979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800" b="1" dirty="0" smtClean="0">
                <a:solidFill>
                  <a:schemeClr val="bg1"/>
                </a:solidFill>
              </a:rPr>
              <a:t>Une portée élargie de la communauté de pratique</a:t>
            </a:r>
            <a:endParaRPr lang="fr-CA" altLang="fr-FR" sz="2800" b="1" dirty="0">
              <a:solidFill>
                <a:schemeClr val="bg1"/>
              </a:solidFill>
            </a:endParaRPr>
          </a:p>
        </p:txBody>
      </p:sp>
      <p:cxnSp>
        <p:nvCxnSpPr>
          <p:cNvPr id="47" name="Straight Connector 4"/>
          <p:cNvCxnSpPr/>
          <p:nvPr/>
        </p:nvCxnSpPr>
        <p:spPr>
          <a:xfrm>
            <a:off x="0" y="835784"/>
            <a:ext cx="9144000" cy="9525"/>
          </a:xfrm>
          <a:prstGeom prst="line">
            <a:avLst/>
          </a:prstGeom>
          <a:noFill/>
          <a:ln w="187325" cap="flat" cmpd="sng" algn="ctr">
            <a:solidFill>
              <a:srgbClr val="000000">
                <a:lumMod val="65000"/>
                <a:lumOff val="35000"/>
              </a:srgbClr>
            </a:solidFill>
            <a:prstDash val="solid"/>
          </a:ln>
          <a:effectLst>
            <a:outerShdw blurRad="50800" dist="266700" dir="5400000" algn="t" rotWithShape="0">
              <a:prstClr val="black">
                <a:alpha val="11000"/>
              </a:prstClr>
            </a:outerShdw>
          </a:effectLst>
        </p:spPr>
      </p:cxnSp>
      <p:pic>
        <p:nvPicPr>
          <p:cNvPr id="26" name="Picture 2" descr="C:\DOCUME~1\jlacroix\LOCALS~1\Temp\SNAGHTML24a6e6e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118" y="2222731"/>
            <a:ext cx="7999764" cy="2997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0348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902101" y="4134963"/>
            <a:ext cx="7924025" cy="9799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CA" dirty="0"/>
          </a:p>
        </p:txBody>
      </p:sp>
      <p:sp>
        <p:nvSpPr>
          <p:cNvPr id="5" name="Rectangle 4"/>
          <p:cNvSpPr/>
          <p:nvPr/>
        </p:nvSpPr>
        <p:spPr>
          <a:xfrm>
            <a:off x="913588" y="3220275"/>
            <a:ext cx="7924025" cy="8640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CA" dirty="0"/>
          </a:p>
        </p:txBody>
      </p:sp>
      <p:sp>
        <p:nvSpPr>
          <p:cNvPr id="8" name="Rectangle 7"/>
          <p:cNvSpPr/>
          <p:nvPr/>
        </p:nvSpPr>
        <p:spPr>
          <a:xfrm>
            <a:off x="893763" y="669925"/>
            <a:ext cx="7943850" cy="102552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CA"/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25679" y="0"/>
            <a:ext cx="9201317" cy="53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fr-CA" altLang="fr-FR" sz="2400" b="1" dirty="0" smtClean="0">
                <a:solidFill>
                  <a:schemeClr val="bg1"/>
                </a:solidFill>
                <a:latin typeface="Calibri" pitchFamily="34" charset="0"/>
                <a:sym typeface="Wingdings 3" pitchFamily="18" charset="2"/>
              </a:rPr>
              <a:t>Structure de la </a:t>
            </a:r>
            <a:r>
              <a:rPr lang="fr-CA" altLang="fr-FR" sz="2400" b="1" dirty="0">
                <a:solidFill>
                  <a:schemeClr val="bg1"/>
                </a:solidFill>
                <a:latin typeface="Calibri" pitchFamily="34" charset="0"/>
                <a:sym typeface="Wingdings 3" pitchFamily="18" charset="2"/>
              </a:rPr>
              <a:t>communauté de pratique en analyse </a:t>
            </a:r>
            <a:r>
              <a:rPr lang="fr-CA" altLang="fr-FR" sz="2400" b="1" dirty="0" smtClean="0">
                <a:solidFill>
                  <a:schemeClr val="bg1"/>
                </a:solidFill>
                <a:latin typeface="Calibri" pitchFamily="34" charset="0"/>
                <a:sym typeface="Wingdings 3" pitchFamily="18" charset="2"/>
              </a:rPr>
              <a:t>d’affaires </a:t>
            </a:r>
            <a:endParaRPr lang="fr-CA" altLang="fr-FR" sz="2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11225" y="1751775"/>
            <a:ext cx="7926388" cy="14382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CA" dirty="0"/>
          </a:p>
        </p:txBody>
      </p:sp>
      <p:pic>
        <p:nvPicPr>
          <p:cNvPr id="11" name="Imag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9900" y="1824800"/>
            <a:ext cx="536575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 2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6538" y="1910525"/>
            <a:ext cx="738187" cy="55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475" y="1807338"/>
            <a:ext cx="1020763" cy="700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Image 2150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3150" y="1789875"/>
            <a:ext cx="873125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Image 2150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6625" y="1818450"/>
            <a:ext cx="790575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ZoneTexte 24"/>
          <p:cNvSpPr txBox="1">
            <a:spLocks noChangeArrowheads="1"/>
          </p:cNvSpPr>
          <p:nvPr/>
        </p:nvSpPr>
        <p:spPr bwMode="auto">
          <a:xfrm>
            <a:off x="1797050" y="2397888"/>
            <a:ext cx="9794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/>
              <a:t>Processus et </a:t>
            </a:r>
          </a:p>
          <a:p>
            <a:pPr algn="ctr" eaLnBrk="1" hangingPunct="1"/>
            <a:r>
              <a:rPr lang="fr-CA" altLang="fr-FR" sz="800" b="1"/>
              <a:t>Activités</a:t>
            </a:r>
          </a:p>
        </p:txBody>
      </p:sp>
      <p:sp>
        <p:nvSpPr>
          <p:cNvPr id="17" name="ZoneTexte 47"/>
          <p:cNvSpPr txBox="1">
            <a:spLocks noChangeArrowheads="1"/>
          </p:cNvSpPr>
          <p:nvPr/>
        </p:nvSpPr>
        <p:spPr bwMode="auto">
          <a:xfrm>
            <a:off x="2706688" y="2404238"/>
            <a:ext cx="1111250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/>
              <a:t>Outils, pratiques et techniques</a:t>
            </a:r>
          </a:p>
        </p:txBody>
      </p:sp>
      <p:sp>
        <p:nvSpPr>
          <p:cNvPr id="18" name="ZoneTexte 48"/>
          <p:cNvSpPr txBox="1">
            <a:spLocks noChangeArrowheads="1"/>
          </p:cNvSpPr>
          <p:nvPr/>
        </p:nvSpPr>
        <p:spPr bwMode="auto">
          <a:xfrm>
            <a:off x="3633788" y="2358200"/>
            <a:ext cx="1444625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/>
              <a:t>Livrables </a:t>
            </a:r>
          </a:p>
          <a:p>
            <a:pPr algn="ctr" eaLnBrk="1" hangingPunct="1"/>
            <a:r>
              <a:rPr lang="fr-CA" altLang="fr-FR" sz="800" b="1"/>
              <a:t>(Standard et Qualité) </a:t>
            </a:r>
          </a:p>
        </p:txBody>
      </p:sp>
      <p:sp>
        <p:nvSpPr>
          <p:cNvPr id="19" name="ZoneTexte 49"/>
          <p:cNvSpPr txBox="1">
            <a:spLocks noChangeArrowheads="1"/>
          </p:cNvSpPr>
          <p:nvPr/>
        </p:nvSpPr>
        <p:spPr bwMode="auto">
          <a:xfrm>
            <a:off x="4921250" y="2455038"/>
            <a:ext cx="8826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/>
              <a:t>Technologie</a:t>
            </a:r>
          </a:p>
        </p:txBody>
      </p:sp>
      <p:sp>
        <p:nvSpPr>
          <p:cNvPr id="20" name="ZoneTexte 50"/>
          <p:cNvSpPr txBox="1">
            <a:spLocks noChangeArrowheads="1"/>
          </p:cNvSpPr>
          <p:nvPr/>
        </p:nvSpPr>
        <p:spPr bwMode="auto">
          <a:xfrm>
            <a:off x="5811838" y="2466150"/>
            <a:ext cx="11636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/>
              <a:t>Développement</a:t>
            </a:r>
          </a:p>
          <a:p>
            <a:pPr algn="ctr" eaLnBrk="1" hangingPunct="1"/>
            <a:r>
              <a:rPr lang="fr-CA" altLang="fr-FR" sz="800" b="1"/>
              <a:t>Compétences &amp; Connaissances</a:t>
            </a:r>
          </a:p>
        </p:txBody>
      </p:sp>
      <p:sp>
        <p:nvSpPr>
          <p:cNvPr id="21" name="ZoneTexte 51"/>
          <p:cNvSpPr txBox="1">
            <a:spLocks noChangeArrowheads="1"/>
          </p:cNvSpPr>
          <p:nvPr/>
        </p:nvSpPr>
        <p:spPr bwMode="auto">
          <a:xfrm>
            <a:off x="6807200" y="2489963"/>
            <a:ext cx="130651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/>
              <a:t>Socialisation</a:t>
            </a:r>
          </a:p>
          <a:p>
            <a:pPr algn="ctr" eaLnBrk="1" hangingPunct="1"/>
            <a:r>
              <a:rPr lang="fr-CA" altLang="fr-FR" sz="800" b="1"/>
              <a:t>Organisationnelle &amp; Soutien</a:t>
            </a:r>
          </a:p>
        </p:txBody>
      </p:sp>
      <p:sp>
        <p:nvSpPr>
          <p:cNvPr id="22" name="Rectangle 21"/>
          <p:cNvSpPr/>
          <p:nvPr/>
        </p:nvSpPr>
        <p:spPr>
          <a:xfrm>
            <a:off x="393700" y="574675"/>
            <a:ext cx="8591550" cy="4606925"/>
          </a:xfrm>
          <a:prstGeom prst="rect">
            <a:avLst/>
          </a:prstGeom>
          <a:noFill/>
          <a:ln w="349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23" name="ZoneTexte 22"/>
          <p:cNvSpPr txBox="1"/>
          <p:nvPr/>
        </p:nvSpPr>
        <p:spPr>
          <a:xfrm rot="16200000">
            <a:off x="200025" y="984250"/>
            <a:ext cx="1025525" cy="396875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chemeClr val="tx1"/>
            </a:solidFill>
          </a:ln>
        </p:spPr>
        <p:txBody>
          <a:bodyPr/>
          <a:lstStyle>
            <a:defPPr>
              <a:defRPr lang="fr-CA"/>
            </a:defPPr>
            <a:lvl1pPr algn="ctr">
              <a:defRPr sz="1000" b="1"/>
            </a:lvl1pPr>
          </a:lstStyle>
          <a:p>
            <a:pPr eaLnBrk="1" hangingPunct="1">
              <a:defRPr/>
            </a:pPr>
            <a:r>
              <a:rPr lang="fr-CA" sz="800" dirty="0" smtClean="0">
                <a:ea typeface="MS PGothic"/>
                <a:cs typeface="MS PGothic"/>
              </a:rPr>
              <a:t>Programme Évolution projet</a:t>
            </a:r>
          </a:p>
        </p:txBody>
      </p:sp>
      <p:pic>
        <p:nvPicPr>
          <p:cNvPr id="24" name="Espace réservé du contenu 3" descr="Image3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691"/>
          <a:stretch>
            <a:fillRect/>
          </a:stretch>
        </p:blipFill>
        <p:spPr bwMode="auto">
          <a:xfrm>
            <a:off x="1063580" y="692150"/>
            <a:ext cx="8001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ZoneTexte 5"/>
          <p:cNvSpPr txBox="1">
            <a:spLocks noChangeArrowheads="1"/>
          </p:cNvSpPr>
          <p:nvPr/>
        </p:nvSpPr>
        <p:spPr bwMode="auto">
          <a:xfrm>
            <a:off x="1982675" y="1254125"/>
            <a:ext cx="13208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Directeur principal</a:t>
            </a:r>
          </a:p>
          <a:p>
            <a:pPr algn="ctr" eaLnBrk="1" hangingPunct="1"/>
            <a:r>
              <a:rPr lang="fr-CA" altLang="fr-FR" sz="800" b="1" dirty="0"/>
              <a:t>du </a:t>
            </a:r>
            <a:r>
              <a:rPr lang="fr-CA" altLang="fr-FR" sz="800" b="1" dirty="0" smtClean="0"/>
              <a:t>programme</a:t>
            </a:r>
            <a:endParaRPr lang="fr-CA" altLang="fr-FR" sz="800" b="1" dirty="0"/>
          </a:p>
        </p:txBody>
      </p:sp>
      <p:sp>
        <p:nvSpPr>
          <p:cNvPr id="26" name="ZoneTexte 61"/>
          <p:cNvSpPr txBox="1">
            <a:spLocks noChangeArrowheads="1"/>
          </p:cNvSpPr>
          <p:nvPr/>
        </p:nvSpPr>
        <p:spPr bwMode="auto">
          <a:xfrm>
            <a:off x="799747" y="1263650"/>
            <a:ext cx="130651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 smtClean="0"/>
              <a:t>Promoteur</a:t>
            </a:r>
            <a:endParaRPr lang="fr-CA" altLang="fr-FR" sz="800" b="1" dirty="0"/>
          </a:p>
        </p:txBody>
      </p:sp>
      <p:pic>
        <p:nvPicPr>
          <p:cNvPr id="27" name="Picture 57" descr="Office Customer Male Light icon">
            <a:hlinkClick r:id="rId9"/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350" y="700088"/>
            <a:ext cx="557213" cy="557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893763" y="5268913"/>
            <a:ext cx="7983537" cy="108267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CA"/>
          </a:p>
        </p:txBody>
      </p:sp>
      <p:sp>
        <p:nvSpPr>
          <p:cNvPr id="29" name="ZoneTexte 158"/>
          <p:cNvSpPr txBox="1">
            <a:spLocks noChangeArrowheads="1"/>
          </p:cNvSpPr>
          <p:nvPr/>
        </p:nvSpPr>
        <p:spPr bwMode="auto">
          <a:xfrm>
            <a:off x="842963" y="5793416"/>
            <a:ext cx="17764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Bureau de </a:t>
            </a:r>
            <a:endParaRPr lang="fr-CA" altLang="fr-FR" sz="800" b="1" dirty="0" smtClean="0"/>
          </a:p>
          <a:p>
            <a:pPr algn="ctr" eaLnBrk="1" hangingPunct="1"/>
            <a:r>
              <a:rPr lang="fr-CA" altLang="fr-FR" sz="800" b="1" dirty="0" smtClean="0"/>
              <a:t>projets #1</a:t>
            </a:r>
            <a:endParaRPr lang="fr-CA" altLang="fr-FR" sz="800" b="1" dirty="0"/>
          </a:p>
        </p:txBody>
      </p:sp>
      <p:grpSp>
        <p:nvGrpSpPr>
          <p:cNvPr id="30" name="Groupe 29"/>
          <p:cNvGrpSpPr/>
          <p:nvPr/>
        </p:nvGrpSpPr>
        <p:grpSpPr>
          <a:xfrm>
            <a:off x="1436257" y="3283640"/>
            <a:ext cx="432901" cy="561207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31" name="Rectangle à coins arrondis 30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32" name="Ellipse 31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pic>
        <p:nvPicPr>
          <p:cNvPr id="33" name="Image 2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038" y="5368925"/>
            <a:ext cx="4873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Connecteur droit 33"/>
          <p:cNvCxnSpPr/>
          <p:nvPr/>
        </p:nvCxnSpPr>
        <p:spPr>
          <a:xfrm flipV="1">
            <a:off x="1636713" y="3844925"/>
            <a:ext cx="0" cy="1603375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oneTexte 34"/>
          <p:cNvSpPr txBox="1"/>
          <p:nvPr/>
        </p:nvSpPr>
        <p:spPr>
          <a:xfrm rot="16200000">
            <a:off x="-6350" y="2260600"/>
            <a:ext cx="1438275" cy="396875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chemeClr val="tx1"/>
            </a:solidFill>
          </a:ln>
        </p:spPr>
        <p:txBody>
          <a:bodyPr/>
          <a:lstStyle/>
          <a:p>
            <a:pPr algn="ctr" eaLnBrk="1" hangingPunct="1">
              <a:defRPr/>
            </a:pPr>
            <a:r>
              <a:rPr lang="fr-CA" sz="900" b="1" dirty="0">
                <a:ea typeface="MS PGothic"/>
                <a:cs typeface="MS PGothic"/>
              </a:rPr>
              <a:t>LEVIERS ORGANISATIONNELS</a:t>
            </a:r>
          </a:p>
        </p:txBody>
      </p:sp>
      <p:sp>
        <p:nvSpPr>
          <p:cNvPr id="36" name="ZoneTexte 35"/>
          <p:cNvSpPr txBox="1"/>
          <p:nvPr/>
        </p:nvSpPr>
        <p:spPr>
          <a:xfrm rot="16200000">
            <a:off x="287694" y="3458044"/>
            <a:ext cx="868362" cy="396000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fr-CA" sz="900" b="1" dirty="0">
                <a:ea typeface="MS PGothic"/>
                <a:cs typeface="MS PGothic"/>
              </a:rPr>
              <a:t>COMITÉ ARRIMAG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6808788" y="6497638"/>
            <a:ext cx="1397000" cy="227012"/>
          </a:xfrm>
          <a:prstGeom prst="rect">
            <a:avLst/>
          </a:prstGeom>
          <a:noFill/>
          <a:ln w="34925">
            <a:solidFill>
              <a:srgbClr val="0070C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hangingPunct="1">
              <a:defRPr/>
            </a:pPr>
            <a:r>
              <a:rPr lang="fr-CA" sz="1050" b="1" dirty="0">
                <a:solidFill>
                  <a:schemeClr val="tx1"/>
                </a:solidFill>
              </a:rPr>
              <a:t>Gouvernance</a:t>
            </a:r>
            <a:endParaRPr lang="fr-CA" sz="1100" b="1" dirty="0">
              <a:solidFill>
                <a:schemeClr val="tx1"/>
              </a:solidFill>
            </a:endParaRPr>
          </a:p>
        </p:txBody>
      </p:sp>
      <p:sp>
        <p:nvSpPr>
          <p:cNvPr id="38" name="ZoneTexte 82"/>
          <p:cNvSpPr txBox="1">
            <a:spLocks noChangeArrowheads="1"/>
          </p:cNvSpPr>
          <p:nvPr/>
        </p:nvSpPr>
        <p:spPr bwMode="auto">
          <a:xfrm>
            <a:off x="3306556" y="1255676"/>
            <a:ext cx="147503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 err="1" smtClean="0"/>
              <a:t>Resp</a:t>
            </a:r>
            <a:r>
              <a:rPr lang="fr-CA" altLang="fr-FR" sz="800" b="1" dirty="0" smtClean="0"/>
              <a:t>. de </a:t>
            </a:r>
            <a:r>
              <a:rPr lang="fr-CA" altLang="fr-FR" sz="800" b="1" dirty="0"/>
              <a:t>la </a:t>
            </a:r>
            <a:r>
              <a:rPr lang="fr-CA" altLang="fr-FR" sz="800" b="1" dirty="0" smtClean="0"/>
              <a:t>CP analyse </a:t>
            </a:r>
            <a:r>
              <a:rPr lang="fr-CA" altLang="fr-FR" sz="800" b="1" dirty="0"/>
              <a:t>d’affaires </a:t>
            </a:r>
            <a:r>
              <a:rPr lang="fr-CA" altLang="fr-FR" sz="800" b="1" dirty="0" smtClean="0"/>
              <a:t>Mouvement</a:t>
            </a:r>
          </a:p>
        </p:txBody>
      </p:sp>
      <p:sp>
        <p:nvSpPr>
          <p:cNvPr id="39" name="ZoneTexte 163"/>
          <p:cNvSpPr txBox="1">
            <a:spLocks noChangeArrowheads="1"/>
          </p:cNvSpPr>
          <p:nvPr/>
        </p:nvSpPr>
        <p:spPr bwMode="auto">
          <a:xfrm>
            <a:off x="1854200" y="2867788"/>
            <a:ext cx="39163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900" b="1"/>
              <a:t>Méthodologie</a:t>
            </a:r>
          </a:p>
        </p:txBody>
      </p:sp>
      <p:sp>
        <p:nvSpPr>
          <p:cNvPr id="40" name="Accolade ouvrante 39"/>
          <p:cNvSpPr/>
          <p:nvPr/>
        </p:nvSpPr>
        <p:spPr>
          <a:xfrm rot="16200000">
            <a:off x="3757613" y="815150"/>
            <a:ext cx="109537" cy="3871913"/>
          </a:xfrm>
          <a:prstGeom prst="leftBrace">
            <a:avLst/>
          </a:prstGeom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CA"/>
          </a:p>
        </p:txBody>
      </p:sp>
      <p:pic>
        <p:nvPicPr>
          <p:cNvPr id="41" name="Imag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750" y="1781938"/>
            <a:ext cx="896938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ZoneTexte 5"/>
          <p:cNvSpPr txBox="1">
            <a:spLocks noChangeArrowheads="1"/>
          </p:cNvSpPr>
          <p:nvPr/>
        </p:nvSpPr>
        <p:spPr bwMode="auto">
          <a:xfrm>
            <a:off x="6078010" y="1316645"/>
            <a:ext cx="17843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Conseillers</a:t>
            </a:r>
          </a:p>
          <a:p>
            <a:pPr algn="ctr" eaLnBrk="1" hangingPunct="1"/>
            <a:r>
              <a:rPr lang="fr-CA" altLang="fr-FR" sz="800" b="1" dirty="0"/>
              <a:t>Gestion du changement et RH</a:t>
            </a:r>
          </a:p>
        </p:txBody>
      </p:sp>
      <p:grpSp>
        <p:nvGrpSpPr>
          <p:cNvPr id="48" name="Groupe 47"/>
          <p:cNvGrpSpPr/>
          <p:nvPr/>
        </p:nvGrpSpPr>
        <p:grpSpPr>
          <a:xfrm>
            <a:off x="2535618" y="3309996"/>
            <a:ext cx="432901" cy="561207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49" name="Rectangle à coins arrondis 48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50" name="Ellipse 49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cxnSp>
        <p:nvCxnSpPr>
          <p:cNvPr id="51" name="Connecteur droit 50"/>
          <p:cNvCxnSpPr>
            <a:stCxn id="79" idx="0"/>
            <a:endCxn id="49" idx="2"/>
          </p:cNvCxnSpPr>
          <p:nvPr/>
        </p:nvCxnSpPr>
        <p:spPr>
          <a:xfrm flipH="1" flipV="1">
            <a:off x="2752725" y="3871913"/>
            <a:ext cx="4763" cy="1481137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e 51"/>
          <p:cNvGrpSpPr/>
          <p:nvPr/>
        </p:nvGrpSpPr>
        <p:grpSpPr>
          <a:xfrm>
            <a:off x="3623132" y="3307300"/>
            <a:ext cx="432901" cy="561207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53" name="Rectangle à coins arrondis 52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54" name="Ellipse 53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cxnSp>
        <p:nvCxnSpPr>
          <p:cNvPr id="55" name="Connecteur droit 54"/>
          <p:cNvCxnSpPr>
            <a:stCxn id="80" idx="0"/>
            <a:endCxn id="53" idx="2"/>
          </p:cNvCxnSpPr>
          <p:nvPr/>
        </p:nvCxnSpPr>
        <p:spPr>
          <a:xfrm flipV="1">
            <a:off x="3828383" y="3868507"/>
            <a:ext cx="11200" cy="146866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e 55"/>
          <p:cNvGrpSpPr/>
          <p:nvPr/>
        </p:nvGrpSpPr>
        <p:grpSpPr>
          <a:xfrm>
            <a:off x="4788482" y="3314802"/>
            <a:ext cx="432901" cy="561207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57" name="Rectangle à coins arrondis 56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58" name="Ellipse 57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cxnSp>
        <p:nvCxnSpPr>
          <p:cNvPr id="59" name="Connecteur droit 58"/>
          <p:cNvCxnSpPr>
            <a:stCxn id="81" idx="0"/>
            <a:endCxn id="57" idx="2"/>
          </p:cNvCxnSpPr>
          <p:nvPr/>
        </p:nvCxnSpPr>
        <p:spPr>
          <a:xfrm flipH="1" flipV="1">
            <a:off x="5005388" y="3876675"/>
            <a:ext cx="19050" cy="1460500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e 59"/>
          <p:cNvGrpSpPr/>
          <p:nvPr/>
        </p:nvGrpSpPr>
        <p:grpSpPr>
          <a:xfrm>
            <a:off x="5938088" y="3316482"/>
            <a:ext cx="432901" cy="561207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61" name="Rectangle à coins arrondis 60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62" name="Ellipse 61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cxnSp>
        <p:nvCxnSpPr>
          <p:cNvPr id="63" name="Connecteur droit 62"/>
          <p:cNvCxnSpPr>
            <a:stCxn id="82" idx="0"/>
            <a:endCxn id="61" idx="2"/>
          </p:cNvCxnSpPr>
          <p:nvPr/>
        </p:nvCxnSpPr>
        <p:spPr>
          <a:xfrm flipH="1" flipV="1">
            <a:off x="6154738" y="3878263"/>
            <a:ext cx="23812" cy="1490662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e 63"/>
          <p:cNvGrpSpPr/>
          <p:nvPr/>
        </p:nvGrpSpPr>
        <p:grpSpPr>
          <a:xfrm>
            <a:off x="7075157" y="3323984"/>
            <a:ext cx="432901" cy="561207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65" name="Rectangle à coins arrondis 64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66" name="Ellipse 65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cxnSp>
        <p:nvCxnSpPr>
          <p:cNvPr id="67" name="Connecteur droit 66"/>
          <p:cNvCxnSpPr>
            <a:stCxn id="83" idx="0"/>
            <a:endCxn id="65" idx="2"/>
          </p:cNvCxnSpPr>
          <p:nvPr/>
        </p:nvCxnSpPr>
        <p:spPr>
          <a:xfrm flipH="1" flipV="1">
            <a:off x="7291388" y="3884613"/>
            <a:ext cx="34925" cy="1468437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ZoneTexte 5"/>
          <p:cNvSpPr txBox="1">
            <a:spLocks noChangeArrowheads="1"/>
          </p:cNvSpPr>
          <p:nvPr/>
        </p:nvSpPr>
        <p:spPr bwMode="auto">
          <a:xfrm>
            <a:off x="4721839" y="1311071"/>
            <a:ext cx="120808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 smtClean="0"/>
              <a:t>Responsable méthodologie</a:t>
            </a:r>
            <a:endParaRPr lang="fr-CA" altLang="fr-FR" sz="800" b="1" dirty="0"/>
          </a:p>
        </p:txBody>
      </p:sp>
      <p:sp>
        <p:nvSpPr>
          <p:cNvPr id="69" name="ZoneTexte 1"/>
          <p:cNvSpPr txBox="1">
            <a:spLocks noChangeArrowheads="1"/>
          </p:cNvSpPr>
          <p:nvPr/>
        </p:nvSpPr>
        <p:spPr bwMode="auto">
          <a:xfrm>
            <a:off x="1360488" y="3594100"/>
            <a:ext cx="581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/>
              <a:t>Directeur</a:t>
            </a:r>
          </a:p>
        </p:txBody>
      </p:sp>
      <p:sp>
        <p:nvSpPr>
          <p:cNvPr id="70" name="ZoneTexte 77"/>
          <p:cNvSpPr txBox="1">
            <a:spLocks noChangeArrowheads="1"/>
          </p:cNvSpPr>
          <p:nvPr/>
        </p:nvSpPr>
        <p:spPr bwMode="auto">
          <a:xfrm>
            <a:off x="2471178" y="3624263"/>
            <a:ext cx="5810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/>
              <a:t>Directeur</a:t>
            </a:r>
          </a:p>
        </p:txBody>
      </p:sp>
      <p:sp>
        <p:nvSpPr>
          <p:cNvPr id="71" name="ZoneTexte 78"/>
          <p:cNvSpPr txBox="1">
            <a:spLocks noChangeArrowheads="1"/>
          </p:cNvSpPr>
          <p:nvPr/>
        </p:nvSpPr>
        <p:spPr bwMode="auto">
          <a:xfrm>
            <a:off x="3567094" y="3621088"/>
            <a:ext cx="5794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/>
              <a:t>Directeur</a:t>
            </a:r>
          </a:p>
        </p:txBody>
      </p:sp>
      <p:sp>
        <p:nvSpPr>
          <p:cNvPr id="72" name="ZoneTexte 79"/>
          <p:cNvSpPr txBox="1">
            <a:spLocks noChangeArrowheads="1"/>
          </p:cNvSpPr>
          <p:nvPr/>
        </p:nvSpPr>
        <p:spPr bwMode="auto">
          <a:xfrm>
            <a:off x="4734971" y="3624263"/>
            <a:ext cx="5794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/>
              <a:t>Directeur</a:t>
            </a:r>
          </a:p>
        </p:txBody>
      </p:sp>
      <p:sp>
        <p:nvSpPr>
          <p:cNvPr id="73" name="ZoneTexte 80"/>
          <p:cNvSpPr txBox="1">
            <a:spLocks noChangeArrowheads="1"/>
          </p:cNvSpPr>
          <p:nvPr/>
        </p:nvSpPr>
        <p:spPr bwMode="auto">
          <a:xfrm>
            <a:off x="5870575" y="3625850"/>
            <a:ext cx="5794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/>
              <a:t>Directeur</a:t>
            </a:r>
          </a:p>
        </p:txBody>
      </p:sp>
      <p:sp>
        <p:nvSpPr>
          <p:cNvPr id="74" name="ZoneTexte 81"/>
          <p:cNvSpPr txBox="1">
            <a:spLocks noChangeArrowheads="1"/>
          </p:cNvSpPr>
          <p:nvPr/>
        </p:nvSpPr>
        <p:spPr bwMode="auto">
          <a:xfrm>
            <a:off x="6991350" y="3635375"/>
            <a:ext cx="5794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/>
              <a:t>Directeur</a:t>
            </a:r>
          </a:p>
        </p:txBody>
      </p:sp>
      <p:pic>
        <p:nvPicPr>
          <p:cNvPr id="75" name="Image 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750" y="700734"/>
            <a:ext cx="563562" cy="563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6" name="Groupe 75"/>
          <p:cNvGrpSpPr/>
          <p:nvPr/>
        </p:nvGrpSpPr>
        <p:grpSpPr>
          <a:xfrm>
            <a:off x="1496759" y="4319722"/>
            <a:ext cx="271131" cy="435144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77" name="Rectangle à coins arrondis 76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78" name="Ellipse 77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pic>
        <p:nvPicPr>
          <p:cNvPr id="79" name="Image 2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5353050"/>
            <a:ext cx="48736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Image 2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4702" y="5337175"/>
            <a:ext cx="487362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Image 2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9963" y="5337175"/>
            <a:ext cx="48895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Image 2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4075" y="5368925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Image 2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1838" y="5353050"/>
            <a:ext cx="4873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" name="ZoneTexte 83"/>
          <p:cNvSpPr txBox="1"/>
          <p:nvPr/>
        </p:nvSpPr>
        <p:spPr>
          <a:xfrm rot="16200000">
            <a:off x="225050" y="4455048"/>
            <a:ext cx="981075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fr-CA" sz="800" b="1" dirty="0">
                <a:ea typeface="MS PGothic"/>
                <a:cs typeface="MS PGothic"/>
              </a:rPr>
              <a:t>COMMUNAUTÉ </a:t>
            </a:r>
            <a:r>
              <a:rPr lang="fr-CA" sz="800" b="1" dirty="0" smtClean="0">
                <a:ea typeface="MS PGothic"/>
                <a:cs typeface="MS PGothic"/>
              </a:rPr>
              <a:t>CHAMPIONS</a:t>
            </a:r>
            <a:endParaRPr lang="fr-CA" sz="800" b="1" dirty="0">
              <a:ea typeface="MS PGothic"/>
              <a:cs typeface="MS PGothic"/>
            </a:endParaRPr>
          </a:p>
        </p:txBody>
      </p:sp>
      <p:sp>
        <p:nvSpPr>
          <p:cNvPr id="85" name="ZoneTexte 84"/>
          <p:cNvSpPr txBox="1"/>
          <p:nvPr/>
        </p:nvSpPr>
        <p:spPr>
          <a:xfrm rot="16200000">
            <a:off x="179388" y="5578475"/>
            <a:ext cx="1085850" cy="460375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fr-CA" sz="800" b="1" dirty="0">
                <a:ea typeface="MS PGothic"/>
                <a:cs typeface="MS PGothic"/>
              </a:rPr>
              <a:t>Équipes d’analystes d’affaires</a:t>
            </a:r>
          </a:p>
        </p:txBody>
      </p:sp>
      <p:grpSp>
        <p:nvGrpSpPr>
          <p:cNvPr id="86" name="Groupe 85"/>
          <p:cNvGrpSpPr/>
          <p:nvPr/>
        </p:nvGrpSpPr>
        <p:grpSpPr>
          <a:xfrm>
            <a:off x="2622451" y="4308415"/>
            <a:ext cx="271131" cy="435144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87" name="Rectangle à coins arrondis 86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88" name="Ellipse 87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grpSp>
        <p:nvGrpSpPr>
          <p:cNvPr id="89" name="Groupe 88"/>
          <p:cNvGrpSpPr/>
          <p:nvPr/>
        </p:nvGrpSpPr>
        <p:grpSpPr>
          <a:xfrm>
            <a:off x="3713411" y="4299712"/>
            <a:ext cx="271131" cy="435144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90" name="Rectangle à coins arrondis 89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91" name="Ellipse 90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grpSp>
        <p:nvGrpSpPr>
          <p:cNvPr id="92" name="Groupe 91"/>
          <p:cNvGrpSpPr/>
          <p:nvPr/>
        </p:nvGrpSpPr>
        <p:grpSpPr>
          <a:xfrm>
            <a:off x="4884050" y="4288405"/>
            <a:ext cx="271131" cy="435144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93" name="Rectangle à coins arrondis 92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94" name="Ellipse 93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grpSp>
        <p:nvGrpSpPr>
          <p:cNvPr id="95" name="Groupe 94"/>
          <p:cNvGrpSpPr/>
          <p:nvPr/>
        </p:nvGrpSpPr>
        <p:grpSpPr>
          <a:xfrm>
            <a:off x="6031003" y="4263884"/>
            <a:ext cx="271131" cy="435144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96" name="Rectangle à coins arrondis 95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97" name="Ellipse 96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grpSp>
        <p:nvGrpSpPr>
          <p:cNvPr id="98" name="Groupe 97"/>
          <p:cNvGrpSpPr/>
          <p:nvPr/>
        </p:nvGrpSpPr>
        <p:grpSpPr>
          <a:xfrm>
            <a:off x="7178213" y="4263884"/>
            <a:ext cx="271131" cy="435144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99" name="Rectangle à coins arrondis 98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100" name="Ellipse 99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grpSp>
        <p:nvGrpSpPr>
          <p:cNvPr id="102" name="Groupe 101"/>
          <p:cNvGrpSpPr/>
          <p:nvPr/>
        </p:nvGrpSpPr>
        <p:grpSpPr>
          <a:xfrm>
            <a:off x="8066560" y="3325552"/>
            <a:ext cx="432901" cy="561207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103" name="Rectangle à coins arrondis 102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104" name="Ellipse 103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cxnSp>
        <p:nvCxnSpPr>
          <p:cNvPr id="105" name="Connecteur droit 104"/>
          <p:cNvCxnSpPr>
            <a:stCxn id="107" idx="0"/>
            <a:endCxn id="103" idx="2"/>
          </p:cNvCxnSpPr>
          <p:nvPr/>
        </p:nvCxnSpPr>
        <p:spPr>
          <a:xfrm flipH="1" flipV="1">
            <a:off x="8283575" y="3886200"/>
            <a:ext cx="33338" cy="1468438"/>
          </a:xfrm>
          <a:prstGeom prst="line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ZoneTexte 81"/>
          <p:cNvSpPr txBox="1">
            <a:spLocks noChangeArrowheads="1"/>
          </p:cNvSpPr>
          <p:nvPr/>
        </p:nvSpPr>
        <p:spPr bwMode="auto">
          <a:xfrm>
            <a:off x="7981950" y="3636963"/>
            <a:ext cx="5794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/>
              <a:t>Directeur</a:t>
            </a:r>
          </a:p>
        </p:txBody>
      </p:sp>
      <p:pic>
        <p:nvPicPr>
          <p:cNvPr id="107" name="Image 22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354638"/>
            <a:ext cx="488950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8" name="Groupe 107"/>
          <p:cNvGrpSpPr/>
          <p:nvPr/>
        </p:nvGrpSpPr>
        <p:grpSpPr>
          <a:xfrm>
            <a:off x="8169616" y="4265452"/>
            <a:ext cx="271131" cy="435144"/>
            <a:chOff x="1428543" y="4933507"/>
            <a:chExt cx="362864" cy="531628"/>
          </a:xfrm>
          <a:solidFill>
            <a:srgbClr val="00B0F0"/>
          </a:solidFill>
        </p:grpSpPr>
        <p:sp>
          <p:nvSpPr>
            <p:cNvPr id="109" name="Rectangle à coins arrondis 108"/>
            <p:cNvSpPr/>
            <p:nvPr/>
          </p:nvSpPr>
          <p:spPr>
            <a:xfrm>
              <a:off x="1428543" y="5188688"/>
              <a:ext cx="362864" cy="276447"/>
            </a:xfrm>
            <a:prstGeom prst="roundRect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  <p:sp>
          <p:nvSpPr>
            <p:cNvPr id="110" name="Ellipse 109"/>
            <p:cNvSpPr/>
            <p:nvPr/>
          </p:nvSpPr>
          <p:spPr>
            <a:xfrm>
              <a:off x="1471074" y="4933507"/>
              <a:ext cx="252000" cy="252000"/>
            </a:xfrm>
            <a:prstGeom prst="ellipse">
              <a:avLst/>
            </a:prstGeom>
            <a:grpFill/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CA"/>
            </a:p>
          </p:txBody>
        </p:sp>
      </p:grpSp>
      <p:sp>
        <p:nvSpPr>
          <p:cNvPr id="118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8275706" y="6505574"/>
            <a:ext cx="596832" cy="355717"/>
          </a:xfrm>
        </p:spPr>
        <p:txBody>
          <a:bodyPr/>
          <a:lstStyle/>
          <a:p>
            <a:pPr>
              <a:defRPr/>
            </a:pPr>
            <a:fld id="{C713B270-3779-476F-BF55-16F367D2169C}" type="slidenum">
              <a:rPr lang="fr-CA" smtClean="0"/>
              <a:pPr>
                <a:defRPr/>
              </a:pPr>
              <a:t>9</a:t>
            </a:fld>
            <a:endParaRPr lang="fr-CA" dirty="0"/>
          </a:p>
        </p:txBody>
      </p:sp>
      <p:pic>
        <p:nvPicPr>
          <p:cNvPr id="119" name="Image 118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922" y="689953"/>
            <a:ext cx="619677" cy="619677"/>
          </a:xfrm>
          <a:prstGeom prst="rect">
            <a:avLst/>
          </a:prstGeom>
        </p:spPr>
      </p:pic>
      <p:pic>
        <p:nvPicPr>
          <p:cNvPr id="120" name="Picture 2" descr="http://icons.iconarchive.com/icons/aha-soft/people/128/people-icon.p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3202" y="659890"/>
            <a:ext cx="719252" cy="71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ZoneTexte 5"/>
          <p:cNvSpPr txBox="1">
            <a:spLocks noChangeArrowheads="1"/>
          </p:cNvSpPr>
          <p:nvPr/>
        </p:nvSpPr>
        <p:spPr bwMode="auto">
          <a:xfrm>
            <a:off x="1245918" y="4747019"/>
            <a:ext cx="8318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 smtClean="0"/>
              <a:t>Champion(s)</a:t>
            </a:r>
            <a:endParaRPr lang="fr-CA" sz="700" dirty="0"/>
          </a:p>
        </p:txBody>
      </p:sp>
      <p:sp>
        <p:nvSpPr>
          <p:cNvPr id="123" name="ZoneTexte 5"/>
          <p:cNvSpPr txBox="1">
            <a:spLocks noChangeArrowheads="1"/>
          </p:cNvSpPr>
          <p:nvPr/>
        </p:nvSpPr>
        <p:spPr bwMode="auto">
          <a:xfrm>
            <a:off x="5750709" y="4707069"/>
            <a:ext cx="8318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 smtClean="0"/>
              <a:t>Champion(s)</a:t>
            </a:r>
            <a:endParaRPr lang="fr-CA" sz="700" dirty="0"/>
          </a:p>
        </p:txBody>
      </p:sp>
      <p:sp>
        <p:nvSpPr>
          <p:cNvPr id="124" name="ZoneTexte 5"/>
          <p:cNvSpPr txBox="1">
            <a:spLocks noChangeArrowheads="1"/>
          </p:cNvSpPr>
          <p:nvPr/>
        </p:nvSpPr>
        <p:spPr bwMode="auto">
          <a:xfrm>
            <a:off x="6886637" y="4720660"/>
            <a:ext cx="8318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 smtClean="0"/>
              <a:t>Champion(s)</a:t>
            </a:r>
            <a:endParaRPr lang="fr-CA" sz="700" dirty="0"/>
          </a:p>
        </p:txBody>
      </p:sp>
      <p:sp>
        <p:nvSpPr>
          <p:cNvPr id="125" name="ZoneTexte 5"/>
          <p:cNvSpPr txBox="1">
            <a:spLocks noChangeArrowheads="1"/>
          </p:cNvSpPr>
          <p:nvPr/>
        </p:nvSpPr>
        <p:spPr bwMode="auto">
          <a:xfrm>
            <a:off x="7899486" y="4740713"/>
            <a:ext cx="8318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 smtClean="0"/>
              <a:t>Champion(s)</a:t>
            </a:r>
            <a:endParaRPr lang="fr-CA" sz="700" dirty="0"/>
          </a:p>
        </p:txBody>
      </p:sp>
      <p:sp>
        <p:nvSpPr>
          <p:cNvPr id="128" name="ZoneTexte 5"/>
          <p:cNvSpPr txBox="1">
            <a:spLocks noChangeArrowheads="1"/>
          </p:cNvSpPr>
          <p:nvPr/>
        </p:nvSpPr>
        <p:spPr bwMode="auto">
          <a:xfrm>
            <a:off x="2339959" y="4732650"/>
            <a:ext cx="8318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 smtClean="0"/>
              <a:t>Champion(s)</a:t>
            </a:r>
            <a:endParaRPr lang="fr-CA" sz="700" dirty="0"/>
          </a:p>
        </p:txBody>
      </p:sp>
      <p:sp>
        <p:nvSpPr>
          <p:cNvPr id="129" name="ZoneTexte 5"/>
          <p:cNvSpPr txBox="1">
            <a:spLocks noChangeArrowheads="1"/>
          </p:cNvSpPr>
          <p:nvPr/>
        </p:nvSpPr>
        <p:spPr bwMode="auto">
          <a:xfrm>
            <a:off x="3418058" y="4694761"/>
            <a:ext cx="8318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 smtClean="0"/>
              <a:t>Champion(s)</a:t>
            </a:r>
            <a:endParaRPr lang="fr-CA" sz="700" dirty="0"/>
          </a:p>
        </p:txBody>
      </p:sp>
      <p:sp>
        <p:nvSpPr>
          <p:cNvPr id="130" name="ZoneTexte 5"/>
          <p:cNvSpPr txBox="1">
            <a:spLocks noChangeArrowheads="1"/>
          </p:cNvSpPr>
          <p:nvPr/>
        </p:nvSpPr>
        <p:spPr bwMode="auto">
          <a:xfrm>
            <a:off x="4589007" y="4694761"/>
            <a:ext cx="8318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sz="700" dirty="0" smtClean="0"/>
              <a:t>Champion(s)</a:t>
            </a:r>
            <a:endParaRPr lang="fr-CA" sz="700" dirty="0"/>
          </a:p>
        </p:txBody>
      </p:sp>
      <p:sp>
        <p:nvSpPr>
          <p:cNvPr id="131" name="ZoneTexte 158"/>
          <p:cNvSpPr txBox="1">
            <a:spLocks noChangeArrowheads="1"/>
          </p:cNvSpPr>
          <p:nvPr/>
        </p:nvSpPr>
        <p:spPr bwMode="auto">
          <a:xfrm>
            <a:off x="1883129" y="5795856"/>
            <a:ext cx="17764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Bureau de </a:t>
            </a:r>
            <a:endParaRPr lang="fr-CA" altLang="fr-FR" sz="800" b="1" dirty="0" smtClean="0"/>
          </a:p>
          <a:p>
            <a:pPr algn="ctr" eaLnBrk="1" hangingPunct="1"/>
            <a:r>
              <a:rPr lang="fr-CA" altLang="fr-FR" sz="800" b="1" dirty="0" smtClean="0"/>
              <a:t>projets #2</a:t>
            </a:r>
            <a:endParaRPr lang="fr-CA" altLang="fr-FR" sz="800" b="1" dirty="0"/>
          </a:p>
        </p:txBody>
      </p:sp>
      <p:sp>
        <p:nvSpPr>
          <p:cNvPr id="132" name="ZoneTexte 158"/>
          <p:cNvSpPr txBox="1">
            <a:spLocks noChangeArrowheads="1"/>
          </p:cNvSpPr>
          <p:nvPr/>
        </p:nvSpPr>
        <p:spPr bwMode="auto">
          <a:xfrm>
            <a:off x="2941202" y="5775688"/>
            <a:ext cx="17764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Bureau de </a:t>
            </a:r>
            <a:endParaRPr lang="fr-CA" altLang="fr-FR" sz="800" b="1" dirty="0" smtClean="0"/>
          </a:p>
          <a:p>
            <a:pPr algn="ctr" eaLnBrk="1" hangingPunct="1"/>
            <a:r>
              <a:rPr lang="fr-CA" altLang="fr-FR" sz="800" b="1" dirty="0" smtClean="0"/>
              <a:t>projets #3</a:t>
            </a:r>
            <a:endParaRPr lang="fr-CA" altLang="fr-FR" sz="800" b="1" dirty="0"/>
          </a:p>
        </p:txBody>
      </p:sp>
      <p:sp>
        <p:nvSpPr>
          <p:cNvPr id="133" name="ZoneTexte 158"/>
          <p:cNvSpPr txBox="1">
            <a:spLocks noChangeArrowheads="1"/>
          </p:cNvSpPr>
          <p:nvPr/>
        </p:nvSpPr>
        <p:spPr bwMode="auto">
          <a:xfrm>
            <a:off x="4153364" y="5786321"/>
            <a:ext cx="17764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Bureau de </a:t>
            </a:r>
            <a:endParaRPr lang="fr-CA" altLang="fr-FR" sz="800" b="1" dirty="0" smtClean="0"/>
          </a:p>
          <a:p>
            <a:pPr algn="ctr" eaLnBrk="1" hangingPunct="1"/>
            <a:r>
              <a:rPr lang="fr-CA" altLang="fr-FR" sz="800" b="1" dirty="0" smtClean="0"/>
              <a:t>projets #4</a:t>
            </a:r>
            <a:endParaRPr lang="fr-CA" altLang="fr-FR" sz="800" b="1" dirty="0"/>
          </a:p>
        </p:txBody>
      </p:sp>
      <p:sp>
        <p:nvSpPr>
          <p:cNvPr id="134" name="ZoneTexte 158"/>
          <p:cNvSpPr txBox="1">
            <a:spLocks noChangeArrowheads="1"/>
          </p:cNvSpPr>
          <p:nvPr/>
        </p:nvSpPr>
        <p:spPr bwMode="auto">
          <a:xfrm>
            <a:off x="5321126" y="5788761"/>
            <a:ext cx="17764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Bureau de </a:t>
            </a:r>
            <a:endParaRPr lang="fr-CA" altLang="fr-FR" sz="800" b="1" dirty="0" smtClean="0"/>
          </a:p>
          <a:p>
            <a:pPr algn="ctr" eaLnBrk="1" hangingPunct="1"/>
            <a:r>
              <a:rPr lang="fr-CA" altLang="fr-FR" sz="800" b="1" dirty="0" smtClean="0"/>
              <a:t>projets #5</a:t>
            </a:r>
            <a:endParaRPr lang="fr-CA" altLang="fr-FR" sz="800" b="1" dirty="0"/>
          </a:p>
        </p:txBody>
      </p:sp>
      <p:sp>
        <p:nvSpPr>
          <p:cNvPr id="135" name="ZoneTexte 158"/>
          <p:cNvSpPr txBox="1">
            <a:spLocks noChangeArrowheads="1"/>
          </p:cNvSpPr>
          <p:nvPr/>
        </p:nvSpPr>
        <p:spPr bwMode="auto">
          <a:xfrm>
            <a:off x="6453630" y="5768593"/>
            <a:ext cx="17764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Bureau de </a:t>
            </a:r>
            <a:endParaRPr lang="fr-CA" altLang="fr-FR" sz="800" b="1" dirty="0" smtClean="0"/>
          </a:p>
          <a:p>
            <a:pPr algn="ctr" eaLnBrk="1" hangingPunct="1"/>
            <a:r>
              <a:rPr lang="fr-CA" altLang="fr-FR" sz="800" b="1" dirty="0" smtClean="0"/>
              <a:t>projets #6</a:t>
            </a:r>
            <a:endParaRPr lang="fr-CA" altLang="fr-FR" sz="800" b="1" dirty="0"/>
          </a:p>
        </p:txBody>
      </p:sp>
      <p:sp>
        <p:nvSpPr>
          <p:cNvPr id="136" name="ZoneTexte 158"/>
          <p:cNvSpPr txBox="1">
            <a:spLocks noChangeArrowheads="1"/>
          </p:cNvSpPr>
          <p:nvPr/>
        </p:nvSpPr>
        <p:spPr bwMode="auto">
          <a:xfrm>
            <a:off x="7446037" y="5772131"/>
            <a:ext cx="177641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CA" altLang="fr-FR" sz="800" b="1" dirty="0"/>
              <a:t>Bureau de </a:t>
            </a:r>
            <a:endParaRPr lang="fr-CA" altLang="fr-FR" sz="800" b="1" dirty="0" smtClean="0"/>
          </a:p>
          <a:p>
            <a:pPr algn="ctr" eaLnBrk="1" hangingPunct="1"/>
            <a:r>
              <a:rPr lang="fr-CA" altLang="fr-FR" sz="800" b="1" dirty="0" smtClean="0"/>
              <a:t>projets #7</a:t>
            </a:r>
            <a:endParaRPr lang="fr-CA" altLang="fr-FR" sz="800" b="1" dirty="0"/>
          </a:p>
        </p:txBody>
      </p:sp>
    </p:spTree>
    <p:extLst>
      <p:ext uri="{BB962C8B-B14F-4D97-AF65-F5344CB8AC3E}">
        <p14:creationId xmlns:p14="http://schemas.microsoft.com/office/powerpoint/2010/main" val="339426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3_Modèle par défaut">
  <a:themeElements>
    <a:clrScheme name="HS Corpo equipe">
      <a:dk1>
        <a:srgbClr val="000000"/>
      </a:dk1>
      <a:lt1>
        <a:srgbClr val="FFFFFF"/>
      </a:lt1>
      <a:dk2>
        <a:srgbClr val="92CD75"/>
      </a:dk2>
      <a:lt2>
        <a:srgbClr val="8DC1A9"/>
      </a:lt2>
      <a:accent1>
        <a:srgbClr val="57A376"/>
      </a:accent1>
      <a:accent2>
        <a:srgbClr val="00A664"/>
      </a:accent2>
      <a:accent3>
        <a:srgbClr val="FFFFFF"/>
      </a:accent3>
      <a:accent4>
        <a:srgbClr val="000000"/>
      </a:accent4>
      <a:accent5>
        <a:srgbClr val="8E8E8E"/>
      </a:accent5>
      <a:accent6>
        <a:srgbClr val="B2B2B2"/>
      </a:accent6>
      <a:hlink>
        <a:srgbClr val="2F2C29"/>
      </a:hlink>
      <a:folHlink>
        <a:srgbClr val="67534D"/>
      </a:folHlink>
    </a:clrScheme>
    <a:fontScheme name="3_Modèle par défau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Modèle par défaut 1">
        <a:dk1>
          <a:srgbClr val="8D8D8D"/>
        </a:dk1>
        <a:lt1>
          <a:srgbClr val="BDBDBD"/>
        </a:lt1>
        <a:dk2>
          <a:srgbClr val="339F3D"/>
        </a:dk2>
        <a:lt2>
          <a:srgbClr val="00A96B"/>
        </a:lt2>
        <a:accent1>
          <a:srgbClr val="6D9539"/>
        </a:accent1>
        <a:accent2>
          <a:srgbClr val="B9C945"/>
        </a:accent2>
        <a:accent3>
          <a:srgbClr val="DBDBDB"/>
        </a:accent3>
        <a:accent4>
          <a:srgbClr val="787878"/>
        </a:accent4>
        <a:accent5>
          <a:srgbClr val="BAC8AE"/>
        </a:accent5>
        <a:accent6>
          <a:srgbClr val="A7B63E"/>
        </a:accent6>
        <a:hlink>
          <a:srgbClr val="71DDD0"/>
        </a:hlink>
        <a:folHlink>
          <a:srgbClr val="1F8F8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Modèle par défaut 2">
        <a:dk1>
          <a:srgbClr val="DCDCDD"/>
        </a:dk1>
        <a:lt1>
          <a:srgbClr val="A6A8A8"/>
        </a:lt1>
        <a:dk2>
          <a:srgbClr val="494949"/>
        </a:dk2>
        <a:lt2>
          <a:srgbClr val="532705"/>
        </a:lt2>
        <a:accent1>
          <a:srgbClr val="87471B"/>
        </a:accent1>
        <a:accent2>
          <a:srgbClr val="C39265"/>
        </a:accent2>
        <a:accent3>
          <a:srgbClr val="B1B1B1"/>
        </a:accent3>
        <a:accent4>
          <a:srgbClr val="8D8F8F"/>
        </a:accent4>
        <a:accent5>
          <a:srgbClr val="C3B1AB"/>
        </a:accent5>
        <a:accent6>
          <a:srgbClr val="B0845B"/>
        </a:accent6>
        <a:hlink>
          <a:srgbClr val="82CDAA"/>
        </a:hlink>
        <a:folHlink>
          <a:srgbClr val="39645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Modèle par défaut 3">
        <a:dk1>
          <a:srgbClr val="D2DCD7"/>
        </a:dk1>
        <a:lt1>
          <a:srgbClr val="84988C"/>
        </a:lt1>
        <a:dk2>
          <a:srgbClr val="405245"/>
        </a:dk2>
        <a:lt2>
          <a:srgbClr val="ECC020"/>
        </a:lt2>
        <a:accent1>
          <a:srgbClr val="8E3114"/>
        </a:accent1>
        <a:accent2>
          <a:srgbClr val="D38B55"/>
        </a:accent2>
        <a:accent3>
          <a:srgbClr val="AFB3B0"/>
        </a:accent3>
        <a:accent4>
          <a:srgbClr val="708177"/>
        </a:accent4>
        <a:accent5>
          <a:srgbClr val="C6ADAA"/>
        </a:accent5>
        <a:accent6>
          <a:srgbClr val="BF7D4C"/>
        </a:accent6>
        <a:hlink>
          <a:srgbClr val="22543C"/>
        </a:hlink>
        <a:folHlink>
          <a:srgbClr val="90D8B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9_Desjardins_CF_MOD072">
  <a:themeElements>
    <a:clrScheme name="Current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FD54A"/>
      </a:accent1>
      <a:accent2>
        <a:srgbClr val="2DB12D"/>
      </a:accent2>
      <a:accent3>
        <a:srgbClr val="9C9C9C"/>
      </a:accent3>
      <a:accent4>
        <a:srgbClr val="636363"/>
      </a:accent4>
      <a:accent5>
        <a:srgbClr val="FF6600"/>
      </a:accent5>
      <a:accent6>
        <a:srgbClr val="808080"/>
      </a:accent6>
      <a:hlink>
        <a:srgbClr val="9C9C9C"/>
      </a:hlink>
      <a:folHlink>
        <a:srgbClr val="6363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7_Desjardins_CF_MOD072 1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FD54A"/>
        </a:accent1>
        <a:accent2>
          <a:srgbClr val="2DB12D"/>
        </a:accent2>
        <a:accent3>
          <a:srgbClr val="FFFFFF"/>
        </a:accent3>
        <a:accent4>
          <a:srgbClr val="000000"/>
        </a:accent4>
        <a:accent5>
          <a:srgbClr val="CDE7B1"/>
        </a:accent5>
        <a:accent6>
          <a:srgbClr val="28A028"/>
        </a:accent6>
        <a:hlink>
          <a:srgbClr val="9C9C9C"/>
        </a:hlink>
        <a:folHlink>
          <a:srgbClr val="6363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odèle par défaut">
  <a:themeElements>
    <a:clrScheme name="1_Modèle par défaut 2">
      <a:dk1>
        <a:srgbClr val="000000"/>
      </a:dk1>
      <a:lt1>
        <a:srgbClr val="FFFFFF"/>
      </a:lt1>
      <a:dk2>
        <a:srgbClr val="235D4A"/>
      </a:dk2>
      <a:lt2>
        <a:srgbClr val="256769"/>
      </a:lt2>
      <a:accent1>
        <a:srgbClr val="A59E8F"/>
      </a:accent1>
      <a:accent2>
        <a:srgbClr val="636363"/>
      </a:accent2>
      <a:accent3>
        <a:srgbClr val="FFFFFF"/>
      </a:accent3>
      <a:accent4>
        <a:srgbClr val="000000"/>
      </a:accent4>
      <a:accent5>
        <a:srgbClr val="CFCCC6"/>
      </a:accent5>
      <a:accent6>
        <a:srgbClr val="595959"/>
      </a:accent6>
      <a:hlink>
        <a:srgbClr val="9ECA56"/>
      </a:hlink>
      <a:folHlink>
        <a:srgbClr val="70AC8F"/>
      </a:folHlink>
    </a:clrScheme>
    <a:fontScheme name="1_Modèle par défaut">
      <a:majorFont>
        <a:latin typeface="Arial"/>
        <a:ea typeface="MS PGothic"/>
        <a:cs typeface="Arial"/>
      </a:majorFont>
      <a:minorFont>
        <a:latin typeface="Arial"/>
        <a:ea typeface="MS PGothic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Modèle par défaut 1">
        <a:dk1>
          <a:srgbClr val="000000"/>
        </a:dk1>
        <a:lt1>
          <a:srgbClr val="FFFFFF"/>
        </a:lt1>
        <a:dk2>
          <a:srgbClr val="037D4D"/>
        </a:dk2>
        <a:lt2>
          <a:srgbClr val="57C57C"/>
        </a:lt2>
        <a:accent1>
          <a:srgbClr val="A59F93"/>
        </a:accent1>
        <a:accent2>
          <a:srgbClr val="6B635B"/>
        </a:accent2>
        <a:accent3>
          <a:srgbClr val="FFFFFF"/>
        </a:accent3>
        <a:accent4>
          <a:srgbClr val="000000"/>
        </a:accent4>
        <a:accent5>
          <a:srgbClr val="CFCDC8"/>
        </a:accent5>
        <a:accent6>
          <a:srgbClr val="605952"/>
        </a:accent6>
        <a:hlink>
          <a:srgbClr val="D27D4E"/>
        </a:hlink>
        <a:folHlink>
          <a:srgbClr val="CBC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Modèle par défaut 2">
        <a:dk1>
          <a:srgbClr val="000000"/>
        </a:dk1>
        <a:lt1>
          <a:srgbClr val="FFFFFF"/>
        </a:lt1>
        <a:dk2>
          <a:srgbClr val="235D4A"/>
        </a:dk2>
        <a:lt2>
          <a:srgbClr val="256769"/>
        </a:lt2>
        <a:accent1>
          <a:srgbClr val="A59E8F"/>
        </a:accent1>
        <a:accent2>
          <a:srgbClr val="636363"/>
        </a:accent2>
        <a:accent3>
          <a:srgbClr val="FFFFFF"/>
        </a:accent3>
        <a:accent4>
          <a:srgbClr val="000000"/>
        </a:accent4>
        <a:accent5>
          <a:srgbClr val="CFCCC6"/>
        </a:accent5>
        <a:accent6>
          <a:srgbClr val="595959"/>
        </a:accent6>
        <a:hlink>
          <a:srgbClr val="9ECA56"/>
        </a:hlink>
        <a:folHlink>
          <a:srgbClr val="70AC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esjardins_CF_MOD072">
  <a:themeElements>
    <a:clrScheme name="Current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FD54A"/>
      </a:accent1>
      <a:accent2>
        <a:srgbClr val="2DB12D"/>
      </a:accent2>
      <a:accent3>
        <a:srgbClr val="9C9C9C"/>
      </a:accent3>
      <a:accent4>
        <a:srgbClr val="636363"/>
      </a:accent4>
      <a:accent5>
        <a:srgbClr val="FF6600"/>
      </a:accent5>
      <a:accent6>
        <a:srgbClr val="808080"/>
      </a:accent6>
      <a:hlink>
        <a:srgbClr val="9C9C9C"/>
      </a:hlink>
      <a:folHlink>
        <a:srgbClr val="6363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sjardins_CF_MOD072 1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FD54A"/>
        </a:accent1>
        <a:accent2>
          <a:srgbClr val="2DB12D"/>
        </a:accent2>
        <a:accent3>
          <a:srgbClr val="FFFFFF"/>
        </a:accent3>
        <a:accent4>
          <a:srgbClr val="000000"/>
        </a:accent4>
        <a:accent5>
          <a:srgbClr val="CDE7B1"/>
        </a:accent5>
        <a:accent6>
          <a:srgbClr val="28A028"/>
        </a:accent6>
        <a:hlink>
          <a:srgbClr val="9C9C9C"/>
        </a:hlink>
        <a:folHlink>
          <a:srgbClr val="6363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8_Desjardins_CF_MOD072">
  <a:themeElements>
    <a:clrScheme name="Current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FD54A"/>
      </a:accent1>
      <a:accent2>
        <a:srgbClr val="2DB12D"/>
      </a:accent2>
      <a:accent3>
        <a:srgbClr val="9C9C9C"/>
      </a:accent3>
      <a:accent4>
        <a:srgbClr val="636363"/>
      </a:accent4>
      <a:accent5>
        <a:srgbClr val="FF6600"/>
      </a:accent5>
      <a:accent6>
        <a:srgbClr val="808080"/>
      </a:accent6>
      <a:hlink>
        <a:srgbClr val="9C9C9C"/>
      </a:hlink>
      <a:folHlink>
        <a:srgbClr val="6363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8_Desjardins_CF_MOD072 1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FD54A"/>
        </a:accent1>
        <a:accent2>
          <a:srgbClr val="2DB12D"/>
        </a:accent2>
        <a:accent3>
          <a:srgbClr val="FFFFFF"/>
        </a:accent3>
        <a:accent4>
          <a:srgbClr val="000000"/>
        </a:accent4>
        <a:accent5>
          <a:srgbClr val="CDE7B1"/>
        </a:accent5>
        <a:accent6>
          <a:srgbClr val="28A028"/>
        </a:accent6>
        <a:hlink>
          <a:srgbClr val="9C9C9C"/>
        </a:hlink>
        <a:folHlink>
          <a:srgbClr val="6363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5_Lg2 contenu">
  <a:themeElements>
    <a:clrScheme name="1_Lg2 contenu 1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C9C9C"/>
      </a:accent1>
      <a:accent2>
        <a:srgbClr val="636363"/>
      </a:accent2>
      <a:accent3>
        <a:srgbClr val="FFFFFF"/>
      </a:accent3>
      <a:accent4>
        <a:srgbClr val="000000"/>
      </a:accent4>
      <a:accent5>
        <a:srgbClr val="CBCBCB"/>
      </a:accent5>
      <a:accent6>
        <a:srgbClr val="595959"/>
      </a:accent6>
      <a:hlink>
        <a:srgbClr val="9FD54A"/>
      </a:hlink>
      <a:folHlink>
        <a:srgbClr val="2DB12D"/>
      </a:folHlink>
    </a:clrScheme>
    <a:fontScheme name="15_Lg2 contenu">
      <a:majorFont>
        <a:latin typeface="Arial"/>
        <a:ea typeface=""/>
        <a:cs typeface="Arial"/>
      </a:majorFont>
      <a:minorFont>
        <a:latin typeface="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Lg2 contenu 1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C9C9C"/>
        </a:accent1>
        <a:accent2>
          <a:srgbClr val="636363"/>
        </a:accent2>
        <a:accent3>
          <a:srgbClr val="FFFFFF"/>
        </a:accent3>
        <a:accent4>
          <a:srgbClr val="000000"/>
        </a:accent4>
        <a:accent5>
          <a:srgbClr val="CBCBCB"/>
        </a:accent5>
        <a:accent6>
          <a:srgbClr val="595959"/>
        </a:accent6>
        <a:hlink>
          <a:srgbClr val="9FD54A"/>
        </a:hlink>
        <a:folHlink>
          <a:srgbClr val="2DB1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Desjardins_CF_MOD072">
  <a:themeElements>
    <a:clrScheme name="Current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FD54A"/>
      </a:accent1>
      <a:accent2>
        <a:srgbClr val="2DB12D"/>
      </a:accent2>
      <a:accent3>
        <a:srgbClr val="9C9C9C"/>
      </a:accent3>
      <a:accent4>
        <a:srgbClr val="636363"/>
      </a:accent4>
      <a:accent5>
        <a:srgbClr val="FF6600"/>
      </a:accent5>
      <a:accent6>
        <a:srgbClr val="808080"/>
      </a:accent6>
      <a:hlink>
        <a:srgbClr val="9C9C9C"/>
      </a:hlink>
      <a:folHlink>
        <a:srgbClr val="6363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FD54A"/>
        </a:accent1>
        <a:accent2>
          <a:srgbClr val="2DB12D"/>
        </a:accent2>
        <a:accent3>
          <a:srgbClr val="9C9C9C"/>
        </a:accent3>
        <a:accent4>
          <a:srgbClr val="636363"/>
        </a:accent4>
        <a:accent5>
          <a:srgbClr val="FF6600"/>
        </a:accent5>
        <a:accent6>
          <a:srgbClr val="808080"/>
        </a:accent6>
        <a:hlink>
          <a:srgbClr val="9C9C9C"/>
        </a:hlink>
        <a:folHlink>
          <a:srgbClr val="6363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7_Desjardins_CF_MOD072">
  <a:themeElements>
    <a:clrScheme name="Current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FD54A"/>
      </a:accent1>
      <a:accent2>
        <a:srgbClr val="2DB12D"/>
      </a:accent2>
      <a:accent3>
        <a:srgbClr val="9C9C9C"/>
      </a:accent3>
      <a:accent4>
        <a:srgbClr val="636363"/>
      </a:accent4>
      <a:accent5>
        <a:srgbClr val="FF6600"/>
      </a:accent5>
      <a:accent6>
        <a:srgbClr val="808080"/>
      </a:accent6>
      <a:hlink>
        <a:srgbClr val="9C9C9C"/>
      </a:hlink>
      <a:folHlink>
        <a:srgbClr val="6363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7_Desjardins_CF_MOD072 1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FD54A"/>
        </a:accent1>
        <a:accent2>
          <a:srgbClr val="2DB12D"/>
        </a:accent2>
        <a:accent3>
          <a:srgbClr val="FFFFFF"/>
        </a:accent3>
        <a:accent4>
          <a:srgbClr val="000000"/>
        </a:accent4>
        <a:accent5>
          <a:srgbClr val="CDE7B1"/>
        </a:accent5>
        <a:accent6>
          <a:srgbClr val="28A028"/>
        </a:accent6>
        <a:hlink>
          <a:srgbClr val="9C9C9C"/>
        </a:hlink>
        <a:folHlink>
          <a:srgbClr val="6363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4_Desjardins_CF_MOD072">
  <a:themeElements>
    <a:clrScheme name="Current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FD54A"/>
      </a:accent1>
      <a:accent2>
        <a:srgbClr val="2DB12D"/>
      </a:accent2>
      <a:accent3>
        <a:srgbClr val="9C9C9C"/>
      </a:accent3>
      <a:accent4>
        <a:srgbClr val="636363"/>
      </a:accent4>
      <a:accent5>
        <a:srgbClr val="FF6600"/>
      </a:accent5>
      <a:accent6>
        <a:srgbClr val="808080"/>
      </a:accent6>
      <a:hlink>
        <a:srgbClr val="9C9C9C"/>
      </a:hlink>
      <a:folHlink>
        <a:srgbClr val="636363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FD54A"/>
        </a:accent1>
        <a:accent2>
          <a:srgbClr val="2DB12D"/>
        </a:accent2>
        <a:accent3>
          <a:srgbClr val="9C9C9C"/>
        </a:accent3>
        <a:accent4>
          <a:srgbClr val="636363"/>
        </a:accent4>
        <a:accent5>
          <a:srgbClr val="FF6600"/>
        </a:accent5>
        <a:accent6>
          <a:srgbClr val="808080"/>
        </a:accent6>
        <a:hlink>
          <a:srgbClr val="9C9C9C"/>
        </a:hlink>
        <a:folHlink>
          <a:srgbClr val="63636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4_Lg2 contenu">
  <a:themeElements>
    <a:clrScheme name="14_Lg2 contenu 1">
      <a:dk1>
        <a:srgbClr val="000000"/>
      </a:dk1>
      <a:lt1>
        <a:srgbClr val="FFFFFF"/>
      </a:lt1>
      <a:dk2>
        <a:srgbClr val="037D4D"/>
      </a:dk2>
      <a:lt2>
        <a:srgbClr val="53C988"/>
      </a:lt2>
      <a:accent1>
        <a:srgbClr val="9C9C9C"/>
      </a:accent1>
      <a:accent2>
        <a:srgbClr val="636363"/>
      </a:accent2>
      <a:accent3>
        <a:srgbClr val="FFFFFF"/>
      </a:accent3>
      <a:accent4>
        <a:srgbClr val="000000"/>
      </a:accent4>
      <a:accent5>
        <a:srgbClr val="CBCBCB"/>
      </a:accent5>
      <a:accent6>
        <a:srgbClr val="595959"/>
      </a:accent6>
      <a:hlink>
        <a:srgbClr val="9FD54A"/>
      </a:hlink>
      <a:folHlink>
        <a:srgbClr val="2DB12D"/>
      </a:folHlink>
    </a:clrScheme>
    <a:fontScheme name="14_Lg2 conten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sym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BBE0E3"/>
        </a:solidFill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sym typeface="Arial" pitchFamily="34" charset="0"/>
          </a:defRPr>
        </a:defPPr>
      </a:lstStyle>
    </a:lnDef>
  </a:objectDefaults>
  <a:extraClrSchemeLst>
    <a:extraClrScheme>
      <a:clrScheme name="14_Lg2 contenu 1">
        <a:dk1>
          <a:srgbClr val="000000"/>
        </a:dk1>
        <a:lt1>
          <a:srgbClr val="FFFFFF"/>
        </a:lt1>
        <a:dk2>
          <a:srgbClr val="037D4D"/>
        </a:dk2>
        <a:lt2>
          <a:srgbClr val="53C988"/>
        </a:lt2>
        <a:accent1>
          <a:srgbClr val="9C9C9C"/>
        </a:accent1>
        <a:accent2>
          <a:srgbClr val="636363"/>
        </a:accent2>
        <a:accent3>
          <a:srgbClr val="FFFFFF"/>
        </a:accent3>
        <a:accent4>
          <a:srgbClr val="000000"/>
        </a:accent4>
        <a:accent5>
          <a:srgbClr val="CBCBCB"/>
        </a:accent5>
        <a:accent6>
          <a:srgbClr val="595959"/>
        </a:accent6>
        <a:hlink>
          <a:srgbClr val="9FD54A"/>
        </a:hlink>
        <a:folHlink>
          <a:srgbClr val="2DB12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57</TotalTime>
  <Words>951</Words>
  <Application>Microsoft Office PowerPoint</Application>
  <PresentationFormat>Affichage à l'écran (4:3)</PresentationFormat>
  <Paragraphs>219</Paragraphs>
  <Slides>1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0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11</vt:i4>
      </vt:variant>
    </vt:vector>
  </HeadingPairs>
  <TitlesOfParts>
    <vt:vector size="23" baseType="lpstr">
      <vt:lpstr>3_Modèle par défaut</vt:lpstr>
      <vt:lpstr>1_Modèle par défaut</vt:lpstr>
      <vt:lpstr>Desjardins_CF_MOD072</vt:lpstr>
      <vt:lpstr>18_Desjardins_CF_MOD072</vt:lpstr>
      <vt:lpstr>15_Lg2 contenu</vt:lpstr>
      <vt:lpstr>1_Desjardins_CF_MOD072</vt:lpstr>
      <vt:lpstr>17_Desjardins_CF_MOD072</vt:lpstr>
      <vt:lpstr>14_Desjardins_CF_MOD072</vt:lpstr>
      <vt:lpstr>14_Lg2 contenu</vt:lpstr>
      <vt:lpstr>19_Desjardins_CF_MOD072</vt:lpstr>
      <vt:lpstr>Diapositive think-cell</vt:lpstr>
      <vt:lpstr>think-cell Slide</vt:lpstr>
      <vt:lpstr>La mise en place d'un centre d'excellence en analyse d'affaires chez Desjardins</vt:lpstr>
      <vt:lpstr>Présentation PowerPoint</vt:lpstr>
      <vt:lpstr>Présentation PowerPoint</vt:lpstr>
      <vt:lpstr>Présentation PowerPoint</vt:lpstr>
      <vt:lpstr>Feuille de route 36 moi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xx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Hoa Tran</dc:creator>
  <cp:lastModifiedBy>Tran, Hoa</cp:lastModifiedBy>
  <cp:revision>1502</cp:revision>
  <cp:lastPrinted>2016-01-14T19:02:35Z</cp:lastPrinted>
  <dcterms:created xsi:type="dcterms:W3CDTF">2009-05-07T18:31:16Z</dcterms:created>
  <dcterms:modified xsi:type="dcterms:W3CDTF">2016-05-25T19:37:20Z</dcterms:modified>
</cp:coreProperties>
</file>